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996" r:id="rId2"/>
    <p:sldMasterId id="2147484030" r:id="rId3"/>
    <p:sldMasterId id="2147484039" r:id="rId4"/>
    <p:sldMasterId id="2147484085" r:id="rId5"/>
  </p:sldMasterIdLst>
  <p:notesMasterIdLst>
    <p:notesMasterId r:id="rId22"/>
  </p:notesMasterIdLst>
  <p:sldIdLst>
    <p:sldId id="333" r:id="rId6"/>
    <p:sldId id="265" r:id="rId7"/>
    <p:sldId id="2147483629" r:id="rId8"/>
    <p:sldId id="260" r:id="rId9"/>
    <p:sldId id="2147483448" r:id="rId10"/>
    <p:sldId id="2147308140" r:id="rId11"/>
    <p:sldId id="2147483414" r:id="rId12"/>
    <p:sldId id="2147483265" r:id="rId13"/>
    <p:sldId id="261" r:id="rId14"/>
    <p:sldId id="2147483647" r:id="rId15"/>
    <p:sldId id="2145706708" r:id="rId16"/>
    <p:sldId id="259" r:id="rId17"/>
    <p:sldId id="2147483646" r:id="rId18"/>
    <p:sldId id="264" r:id="rId19"/>
    <p:sldId id="2147483588" r:id="rId20"/>
    <p:sldId id="25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327805-A85A-C995-CCFB-01248418759D}" name="Taylor Rozek" initials="TR" userId="0a2381daea61e3f1" providerId="Windows Live"/>
  <p188:author id="{B5D9D73A-7678-406F-943F-A9A0AD1EBCDE}" name="Cody DeHaas" initials="CD" userId="S::codyd@silverfoxprod.com::c4fe4504-9514-46fc-a974-647f8cb46048" providerId="AD"/>
  <p188:author id="{8443ED59-20C7-4FDF-8DCA-8A14D1AA1C8C}" name="Microsoft Office User" initials="MOU" userId="Microsoft Office User" providerId="None"/>
  <p188:author id="{79F0CAA9-0925-04D1-A7A2-13CCFA392179}" name="Gregory Greenidge" initials="GG" userId="S::gregoryg@silverfoxprod.com::dd595919-b634-40e6-b67c-7edab9ac13b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41A"/>
    <a:srgbClr val="02041A"/>
    <a:srgbClr val="8A5AEC"/>
    <a:srgbClr val="DA3A8D"/>
    <a:srgbClr val="D442A4"/>
    <a:srgbClr val="CA4ABD"/>
    <a:srgbClr val="B951D3"/>
    <a:srgbClr val="A457E3"/>
    <a:srgbClr val="10D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17" autoAdjust="0"/>
    <p:restoredTop sz="84626" autoAdjust="0"/>
  </p:normalViewPr>
  <p:slideViewPr>
    <p:cSldViewPr snapToGrid="0">
      <p:cViewPr varScale="1">
        <p:scale>
          <a:sx n="105" d="100"/>
          <a:sy n="105" d="100"/>
        </p:scale>
        <p:origin x="960" y="19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2864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CCBB36-A99C-4A10-8B59-F823B7733D1C}" type="datetimeFigureOut">
              <a:rPr lang="en-US" smtClean="0"/>
              <a:t>4/11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DFBB6B-9D36-4AA2-AB31-C4384AAAA6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821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C3F2ED-74C5-7D4F-8560-0CC253E9A43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446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o address the</a:t>
            </a:r>
            <a:r>
              <a:rPr lang="en-US" baseline="0" dirty="0"/>
              <a:t> specific needs and the general customer requirements around faster time-to-train, lower costs and higher performance, we have been building out our portfolio of hardware-accelerated instances. </a:t>
            </a:r>
            <a:r>
              <a:rPr lang="en-US" dirty="0"/>
              <a:t>We have a broad portfolio of accelerated computing instances. These include FPGA, GPU, and AWS custom accelerator-based instances. Custom accelerator-based instances are designed as performance and cost-optimized training and inference in the cloud. These include AWS Inferentia and Trainium accelerator-based instances. Other instances are based on GPUs and other hardware accelerators from Nvidia, AMD, and Intel. </a:t>
            </a:r>
          </a:p>
          <a:p>
            <a:pPr marL="457200" lvl="0" indent="-457200">
              <a:buFont typeface="Arial" panose="020B0604020202020204" pitchFamily="34" charset="0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C3F2ED-74C5-7D4F-8560-0CC253E9A4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 Regular" charset="0"/>
                <a:ea typeface="+mn-ea"/>
                <a:cs typeface="+mn-cs"/>
              </a:rPr>
              <a:pPr marL="0" marR="0" lvl="0" indent="0" algn="r" defTabSz="731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azon Ember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7000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zon SageMaker HyperPod makes it easier for you to train foundation models without interruptions or delays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, if a hardware failure occurs, it detects the failure, replaces the faulty instance, and resumes training from the last saved checkpoint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ondly, It enables your data and models to be efficiently distributed across thousands of accelerators in the cluster and processed in parallel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helps you iteratively pause, inspect, and optimize model training by automatically taking frequent checkpoints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this new capability, you will see dramatic improvements by training models for weeks, or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th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thout disruption – saving up to 40% time to train foundation model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FEB175-7AE1-4B66-A823-55E80A74AF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697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05278-BE52-89C8-171A-7D982F940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648340-1031-8A88-BE0B-5A7CC74CF7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65138" y="465138"/>
            <a:ext cx="6080125" cy="34194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33C054-5619-6784-8C19-307E5B9DE8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A93ED-5697-7C20-3D32-5FEC89645E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787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ogether with our partners, we offer purpose-built solutions, tools, and consulting practices across the value chain to help life sciences customers accelerate high-throughput modeling screening and conduct smarter clinical trials, all the  way through effectively scaling and handling growing numbers and sources of adverse event data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85175B-288F-BB4F-970D-4F71AB69161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449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ls </a:t>
            </a:r>
          </a:p>
          <a:p>
            <a:r>
              <a:rPr lang="en-US" dirty="0"/>
              <a:t>Tools can be data stores or func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7616F-4F4B-CA47-B50D-8700DB410D6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mazon Ember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mazon Emb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2686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4.png"/><Relationship Id="rId5" Type="http://schemas.openxmlformats.org/officeDocument/2006/relationships/image" Target="../media/image47.svg"/><Relationship Id="rId4" Type="http://schemas.openxmlformats.org/officeDocument/2006/relationships/image" Target="../media/image19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79.emf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7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30.jpeg"/><Relationship Id="rId4" Type="http://schemas.openxmlformats.org/officeDocument/2006/relationships/image" Target="../media/image28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31.jpeg"/><Relationship Id="rId4" Type="http://schemas.openxmlformats.org/officeDocument/2006/relationships/image" Target="../media/image28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31.jpeg"/><Relationship Id="rId4" Type="http://schemas.openxmlformats.org/officeDocument/2006/relationships/image" Target="../media/image2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32.jpeg"/><Relationship Id="rId4" Type="http://schemas.openxmlformats.org/officeDocument/2006/relationships/image" Target="../media/image28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33.jpeg"/><Relationship Id="rId4" Type="http://schemas.openxmlformats.org/officeDocument/2006/relationships/image" Target="../media/image28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7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2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5830B55-5063-9E41-8E56-26A5FA5A95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096" cy="686420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FD3234B-AC5F-D143-8F1C-A3ED8AE543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BE32A45-4DD7-834F-B55D-F4C7CF7592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142EF6B-C5A8-1846-AA27-86A32C7602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7CE8F4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474F9FA-D015-474A-AB83-4D7AE427C6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C3D805-60FD-53EC-88E3-7CD578B1D8AD}"/>
              </a:ext>
            </a:extLst>
          </p:cNvPr>
          <p:cNvSpPr txBox="1"/>
          <p:nvPr userDrawn="1"/>
        </p:nvSpPr>
        <p:spPr>
          <a:xfrm>
            <a:off x="504476" y="6389813"/>
            <a:ext cx="19880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</a:rPr>
              <a:t>© </a:t>
            </a:r>
            <a:fld id="{862FC2B9-7454-E942-8B5C-D7AEE70C40B9}" type="datetimeyyyy">
              <a:rPr lang="en-US" sz="600" smtClean="0">
                <a:solidFill>
                  <a:schemeClr val="tx2"/>
                </a:solidFill>
              </a:rPr>
              <a:t>2025</a:t>
            </a:fld>
            <a:r>
              <a:rPr lang="en-US" sz="600" dirty="0">
                <a:solidFill>
                  <a:schemeClr val="tx2"/>
                </a:solidFill>
              </a:rPr>
              <a:t>, Amazon Web Services, Inc. or its affiliates.  </a:t>
            </a:r>
          </a:p>
        </p:txBody>
      </p:sp>
    </p:spTree>
    <p:extLst>
      <p:ext uri="{BB962C8B-B14F-4D97-AF65-F5344CB8AC3E}">
        <p14:creationId xmlns:p14="http://schemas.microsoft.com/office/powerpoint/2010/main" val="94288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bullete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981200"/>
            <a:ext cx="10972800" cy="4229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73DDF9C-7004-4F4E-8707-3F8553760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7034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4270F7-2BCA-4119-8F34-BD17AB29E14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589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  <p15:guide id="2" orient="horz" pos="1128">
          <p15:clr>
            <a:srgbClr val="9FCC3B"/>
          </p15:clr>
        </p15:guide>
        <p15:guide id="3" orient="horz" pos="124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82940-4CB7-443C-9F56-FCA13ED56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2268E66-E2A6-42E7-9D25-CF980511A875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Autofit/>
          </a:bodyPr>
          <a:lstStyle>
            <a:lvl1pPr marL="800100" indent="0">
              <a:buNone/>
              <a:defRPr/>
            </a:lvl1pPr>
          </a:lstStyle>
          <a:p>
            <a:r>
              <a:rPr lang="en-US" dirty="0"/>
              <a:t>Click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CFD226-D826-41A8-94B2-5E84F7FD8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47700"/>
            <a:ext cx="121920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Video layout (enter descriptive title here for accessibility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CA4397-C1FB-44F1-9E3B-33384D2CDD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312007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10167-6731-422B-AAF3-3DCD022F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mparison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7F764-8D3D-4D65-9DEE-EB4D76A919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4800" y="1496306"/>
            <a:ext cx="5676897" cy="480131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FD69C2-FBB8-4670-938B-F05693537C1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04800" y="1989137"/>
            <a:ext cx="5676897" cy="1855893"/>
          </a:xfrm>
        </p:spPr>
        <p:txBody>
          <a:bodyPr/>
          <a:lstStyle>
            <a:lvl1pPr marL="0" indent="0">
              <a:buNone/>
              <a:defRPr sz="2400"/>
            </a:lvl1pPr>
            <a:lvl2pPr marL="228600" indent="0">
              <a:buNone/>
              <a:defRPr sz="2000"/>
            </a:lvl2pPr>
            <a:lvl3pPr marL="457200" indent="0">
              <a:buNone/>
              <a:defRPr sz="1800"/>
            </a:lvl3pPr>
            <a:lvl4pPr marL="685800" indent="0">
              <a:buNone/>
              <a:defRPr sz="1600"/>
            </a:lvl4pPr>
            <a:lvl5pPr marL="685800" indent="0">
              <a:buNone/>
              <a:defRPr sz="1600"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22A0D-CA84-4D80-B7CB-26EC3C0607B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10303" y="1496306"/>
            <a:ext cx="5676897" cy="480131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21A746-02E0-4C53-AAE0-D0AE61EBDA6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10303" y="1989137"/>
            <a:ext cx="5676896" cy="1855893"/>
          </a:xfrm>
        </p:spPr>
        <p:txBody>
          <a:bodyPr/>
          <a:lstStyle>
            <a:lvl1pPr marL="0" indent="0">
              <a:buNone/>
              <a:defRPr sz="2400"/>
            </a:lvl1pPr>
            <a:lvl2pPr marL="228600" indent="0">
              <a:buNone/>
              <a:defRPr sz="2000"/>
            </a:lvl2pPr>
            <a:lvl3pPr marL="457200" indent="0">
              <a:buNone/>
              <a:defRPr sz="1800"/>
            </a:lvl3pPr>
            <a:lvl4pPr marL="685800" indent="0">
              <a:buNone/>
              <a:defRPr sz="1600"/>
            </a:lvl4pPr>
            <a:lvl5pPr marL="685800" indent="0">
              <a:buNone/>
              <a:defRPr sz="1600"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9C08B5-408C-4416-9897-9FC5594CC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25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68">
          <p15:clr>
            <a:srgbClr val="FBAE40"/>
          </p15:clr>
        </p15:guide>
        <p15:guide id="2" pos="391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EC130-06E7-4370-BE1F-6B09EE729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4152900" cy="1181100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 dirty="0"/>
              <a:t>Content with captio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4425BD-017D-469D-AB54-06E3E3BCCB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29200" y="304799"/>
            <a:ext cx="6858000" cy="5905501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  <a:lvl2pPr marL="228600" indent="0">
              <a:buNone/>
              <a:defRPr sz="2400"/>
            </a:lvl2pPr>
            <a:lvl3pPr marL="457200" indent="0">
              <a:buNone/>
              <a:defRPr sz="2000"/>
            </a:lvl3pPr>
            <a:lvl4pPr marL="685800" indent="0">
              <a:buNone/>
              <a:defRPr sz="1800"/>
            </a:lvl4pPr>
            <a:lvl5pPr marL="685800" indent="0">
              <a:buNone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4C1E26-36AF-47C4-ABA4-2D427A11BD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2181224"/>
            <a:ext cx="4152900" cy="40290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C44287-B2A7-4C95-A779-3F4151ACF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0510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orient="horz" pos="1368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988CF-49CB-49EE-AEAE-AF86931C7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4152900" cy="1181100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 dirty="0"/>
              <a:t>Picture with caption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FCFB70-4D2B-4A5F-B5F1-1904D4D48BF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029200" y="304799"/>
            <a:ext cx="6858000" cy="5905501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imag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4DB1E-5222-413E-A157-09D2D7B06BE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2181224"/>
            <a:ext cx="4152900" cy="402907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3D827A-089B-4E08-84DA-CE974B5C54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2883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  <p15:guide id="2" orient="horz" pos="1368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FB277E4-9A69-4767-9CF4-47951F185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176C295-EE16-47C5-A918-84875C581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5784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4B92D1-BD95-4ACC-9E97-FE9B372B651C}"/>
              </a:ext>
            </a:extLst>
          </p:cNvPr>
          <p:cNvSpPr txBox="1"/>
          <p:nvPr userDrawn="1"/>
        </p:nvSpPr>
        <p:spPr bwMode="white">
          <a:xfrm>
            <a:off x="133351" y="1713913"/>
            <a:ext cx="8413750" cy="1128486"/>
          </a:xfrm>
          <a:prstGeom prst="rect">
            <a:avLst/>
          </a:prstGeom>
          <a:noFill/>
        </p:spPr>
        <p:txBody>
          <a:bodyPr lIns="182880" tIns="91440" rIns="146304" bIns="91440"/>
          <a:lstStyle>
            <a:lvl1pPr defTabSz="1097278">
              <a:lnSpc>
                <a:spcPct val="90000"/>
              </a:lnSpc>
              <a:spcBef>
                <a:spcPct val="0"/>
              </a:spcBef>
              <a:buNone/>
              <a:defRPr lang="en-US" sz="6600" b="0" cap="none" spc="-118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sz="7200" b="1" i="0" spc="-300" dirty="0">
                <a:solidFill>
                  <a:schemeClr val="tx1"/>
                </a:solidFill>
                <a:latin typeface="+mn-lt"/>
                <a:ea typeface="Amazon Ember Display" panose="020F0603020204020204" pitchFamily="34" charset="0"/>
                <a:cs typeface="Amazon Ember Display" panose="020F0603020204020204" pitchFamily="34" charset="0"/>
              </a:rPr>
              <a:t>Thank you!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408A370D-82D9-46EE-9BFE-A0195797ED61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1881157-0DF8-49E6-B684-3E8FD245EE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A2927B3-63A9-43F6-91E9-B153F0DF34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 dirty="0"/>
              <a:t>Speaker contact info (such as email or social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5647617-D370-4344-8A52-A50356181D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5949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01E06BA-A855-4482-AB73-94B5EFBA84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20100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67C7A81-0FAF-4B91-8CE3-3CB926ABA2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5949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 dirty="0"/>
              <a:t>Speaker contact info (such as email or socials)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9E66DAE-B2A2-4775-9B21-0BED6B9C88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20100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 dirty="0"/>
              <a:t>Speaker contact info (such as email or socials)</a:t>
            </a:r>
          </a:p>
        </p:txBody>
      </p:sp>
      <p:sp>
        <p:nvSpPr>
          <p:cNvPr id="43" name="Title 42">
            <a:extLst>
              <a:ext uri="{FF2B5EF4-FFF2-40B4-BE49-F238E27FC236}">
                <a16:creationId xmlns:a16="http://schemas.microsoft.com/office/drawing/2014/main" id="{0D9B8DBA-78C6-4788-90BB-271D175CD3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60868"/>
            <a:ext cx="12192000" cy="638175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Thank you layout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4C7E06E-CA3B-4922-B6C2-10A3255541E3}"/>
              </a:ext>
            </a:extLst>
          </p:cNvPr>
          <p:cNvGrpSpPr/>
          <p:nvPr userDrawn="1"/>
        </p:nvGrpSpPr>
        <p:grpSpPr>
          <a:xfrm>
            <a:off x="7232650" y="1758488"/>
            <a:ext cx="4961114" cy="1039336"/>
            <a:chOff x="7232650" y="1769509"/>
            <a:chExt cx="4961114" cy="103933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4869B64-841D-4E69-A2A8-9AF625BE3A9B}"/>
                </a:ext>
              </a:extLst>
            </p:cNvPr>
            <p:cNvSpPr/>
            <p:nvPr userDrawn="1"/>
          </p:nvSpPr>
          <p:spPr bwMode="auto">
            <a:xfrm>
              <a:off x="7232650" y="1872748"/>
              <a:ext cx="832859" cy="832859"/>
            </a:xfrm>
            <a:prstGeom prst="ellipse">
              <a:avLst/>
            </a:prstGeom>
            <a:solidFill>
              <a:srgbClr val="20115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tIns="91440" rIns="0" bIns="0" anchor="ctr"/>
            <a:lstStyle/>
            <a:p>
              <a:pPr algn="ctr" defTabSz="932472" eaLnBrk="1" hangingPunct="1">
                <a:lnSpc>
                  <a:spcPct val="90000"/>
                </a:lnSpc>
                <a:defRPr/>
              </a:pPr>
              <a:endParaRPr lang="en-US" sz="5400" b="1" dirty="0">
                <a:solidFill>
                  <a:schemeClr val="tx1"/>
                </a:solidFill>
                <a:ea typeface="Amazon Ember Display" panose="020F0603020204020204" pitchFamily="34" charset="0"/>
                <a:cs typeface="Amazon Ember Display" panose="020F0603020204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B6ADC72-224D-4A5A-870A-AEE582EDC5AA}"/>
                </a:ext>
              </a:extLst>
            </p:cNvPr>
            <p:cNvSpPr/>
            <p:nvPr userDrawn="1"/>
          </p:nvSpPr>
          <p:spPr>
            <a:xfrm>
              <a:off x="7637646" y="1872748"/>
              <a:ext cx="4556118" cy="832859"/>
            </a:xfrm>
            <a:prstGeom prst="rect">
              <a:avLst/>
            </a:prstGeom>
            <a:gradFill flip="none" rotWithShape="1">
              <a:gsLst>
                <a:gs pos="57000">
                  <a:schemeClr val="bg2">
                    <a:lumMod val="75000"/>
                    <a:lumOff val="25000"/>
                  </a:schemeClr>
                </a:gs>
                <a:gs pos="95000">
                  <a:srgbClr val="400656"/>
                </a:gs>
                <a:gs pos="16000">
                  <a:srgbClr val="20115F"/>
                </a:gs>
              </a:gsLst>
              <a:lin ang="144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0" rIns="182880" rtlCol="0" anchor="ctr"/>
            <a:lstStyle/>
            <a:p>
              <a:pPr lvl="0">
                <a:lnSpc>
                  <a:spcPct val="80000"/>
                </a:lnSpc>
              </a:pPr>
              <a:endParaRPr lang="en-US" sz="1600" dirty="0">
                <a:solidFill>
                  <a:schemeClr val="bg1"/>
                </a:solidFill>
                <a:cs typeface="Amazon Ember Display" panose="020F0603020204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F86D94E-33EB-4D5B-9BA2-E558D513AC36}"/>
                </a:ext>
              </a:extLst>
            </p:cNvPr>
            <p:cNvSpPr txBox="1"/>
            <p:nvPr userDrawn="1"/>
          </p:nvSpPr>
          <p:spPr>
            <a:xfrm>
              <a:off x="8594726" y="1900795"/>
              <a:ext cx="3394181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l">
                <a:lnSpc>
                  <a:spcPct val="90000"/>
                </a:lnSpc>
                <a:spcAft>
                  <a:spcPts val="1800"/>
                </a:spcAft>
              </a:pPr>
              <a:r>
                <a:rPr lang="en-US" sz="1800" b="0" dirty="0">
                  <a:solidFill>
                    <a:schemeClr val="tx1"/>
                  </a:solidFill>
                  <a:latin typeface="Amazon Ember Display" panose="020F0603020204020204" pitchFamily="34" charset="0"/>
                  <a:ea typeface="Amazon Ember Display" panose="020F0603020204020204" pitchFamily="34" charset="0"/>
                  <a:cs typeface="Amazon Ember Display" panose="020F0603020204020204" pitchFamily="34" charset="0"/>
                </a:rPr>
                <a:t>Please complete the session survey in the </a:t>
              </a:r>
              <a:r>
                <a:rPr lang="en-US" sz="1800" b="0" u="none" dirty="0">
                  <a:solidFill>
                    <a:schemeClr val="tx1"/>
                  </a:solidFill>
                  <a:latin typeface="Amazon Ember Display" panose="020F0603020204020204" pitchFamily="34" charset="0"/>
                  <a:ea typeface="Amazon Ember Display" panose="020F0603020204020204" pitchFamily="34" charset="0"/>
                  <a:cs typeface="Amazon Ember Display" panose="020F0603020204020204" pitchFamily="34" charset="0"/>
                </a:rPr>
                <a:t>mobile app</a:t>
              </a: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E0DF1074-5183-456A-A65A-F40ABF9419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511809" y="1769509"/>
              <a:ext cx="1039336" cy="1039336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BD2A98C-F1FC-4E4F-9A9B-56DDFDF9823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669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6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75D63-DB02-47E2-8ABC-1CDE7351B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vertical text layout (for global use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98635E-72DE-4F61-BE10-3EAC7D7834F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04800" y="1485900"/>
            <a:ext cx="11582401" cy="4724400"/>
          </a:xfrm>
        </p:spPr>
        <p:txBody>
          <a:bodyPr vert="eaVer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2B27F6-70E9-4C1D-B876-3F56E6F0B8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375256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5A6E2F-2A0D-41FD-98C9-E5EC67311CD7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258300" y="304800"/>
            <a:ext cx="2628900" cy="5811838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dirty="0"/>
              <a:t>Vertical title and text layout (for global use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04BEE4-73E5-478E-9908-4B1421AA9F8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04800" y="304800"/>
            <a:ext cx="8267700" cy="5905499"/>
          </a:xfrm>
        </p:spPr>
        <p:txBody>
          <a:bodyPr vert="eaVert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FA31B9-D512-49AE-BE72-FB74192BB5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2206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of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7570948-50D6-4C6C-89FC-1CF33457240B}"/>
              </a:ext>
            </a:extLst>
          </p:cNvPr>
          <p:cNvSpPr txBox="1"/>
          <p:nvPr userDrawn="1"/>
        </p:nvSpPr>
        <p:spPr>
          <a:xfrm>
            <a:off x="3486150" y="2418081"/>
            <a:ext cx="7785100" cy="2021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600" b="1" i="0" dirty="0"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Do not use layouts after this slide.</a:t>
            </a:r>
            <a:br>
              <a:rPr lang="en-US" sz="6600" b="1" i="0" dirty="0"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</a:br>
            <a:r>
              <a:rPr lang="en-US" sz="2400" b="1" i="0" dirty="0"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They are not part of the official template.</a:t>
            </a:r>
            <a:endParaRPr lang="en-US" sz="6600" b="1" i="0" dirty="0">
              <a:latin typeface="Amazon Ember Display" panose="020F0603020204020204" pitchFamily="34" charset="0"/>
              <a:ea typeface="Amazon Ember Display" panose="020F0603020204020204" pitchFamily="34" charset="0"/>
              <a:cs typeface="Amazon Ember Display" panose="020F0603020204020204" pitchFamily="34" charset="0"/>
            </a:endParaRPr>
          </a:p>
        </p:txBody>
      </p:sp>
      <p:pic>
        <p:nvPicPr>
          <p:cNvPr id="7" name="Graphic 6" descr="Stop sign">
            <a:extLst>
              <a:ext uri="{FF2B5EF4-FFF2-40B4-BE49-F238E27FC236}">
                <a16:creationId xmlns:a16="http://schemas.microsoft.com/office/drawing/2014/main" id="{D8BDC3FF-1738-461C-B98B-AC108F0BBD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4466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881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86B726-34C0-4C1C-A252-97930DC77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5BE89-FE1B-4E4D-90F0-7B3CCBA597B3}" type="datetime1">
              <a:rPr lang="en-US" smtClean="0"/>
              <a:t>4/11/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3103B0-BAC9-4248-BF05-F8F64F81D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73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5334000" cy="10858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content, and imag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71700"/>
            <a:ext cx="5334000" cy="4038599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3B2582F-3FE9-42AC-8572-5C27E1A8E5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8400" y="0"/>
            <a:ext cx="5943600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(or paste) to insert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C972F2-75D0-4C1D-B2C9-D4DDBBA7EBA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94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36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kg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DCAFDC-8505-2B16-2DF5-14AB990B22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"/>
            <a:ext cx="12191998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46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_gradient bg">
  <p:cSld name="Title + Content_gradient bg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695323" y="357808"/>
            <a:ext cx="10794800" cy="8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ftr" idx="11"/>
          </p:nvPr>
        </p:nvSpPr>
        <p:spPr>
          <a:xfrm>
            <a:off x="695325" y="6508467"/>
            <a:ext cx="10794800" cy="3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933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1"/>
          </p:nvPr>
        </p:nvSpPr>
        <p:spPr>
          <a:xfrm>
            <a:off x="684276" y="1399032"/>
            <a:ext cx="10782400" cy="48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/>
            </a:lvl1pPr>
            <a:lvl2pPr marL="1219170" lvl="1" indent="-431789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/>
            </a:lvl2pPr>
            <a:lvl3pPr marL="1828754" lvl="2" indent="-4233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/>
            </a:lvl3pPr>
            <a:lvl4pPr marL="2438339" lvl="3" indent="-406390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/>
            </a:lvl4pPr>
            <a:lvl5pPr marL="3047924" lvl="4" indent="-397923" algn="l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467"/>
            </a:lvl5pPr>
            <a:lvl6pPr marL="3657509" lvl="5" indent="-42332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sldNum" idx="12"/>
          </p:nvPr>
        </p:nvSpPr>
        <p:spPr>
          <a:xfrm>
            <a:off x="11844528" y="6508467"/>
            <a:ext cx="347600" cy="3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/>
            </a:lvl1pPr>
            <a:lvl2pPr marL="0" lvl="1" indent="0" algn="l" rtl="0">
              <a:spcBef>
                <a:spcPts val="0"/>
              </a:spcBef>
              <a:buNone/>
              <a:defRPr/>
            </a:lvl2pPr>
            <a:lvl3pPr marL="0" lvl="2" indent="0" algn="l" rtl="0">
              <a:spcBef>
                <a:spcPts val="0"/>
              </a:spcBef>
              <a:buNone/>
              <a:defRPr/>
            </a:lvl3pPr>
            <a:lvl4pPr marL="0" lvl="3" indent="0" algn="l" rtl="0">
              <a:spcBef>
                <a:spcPts val="0"/>
              </a:spcBef>
              <a:buNone/>
              <a:defRPr/>
            </a:lvl4pPr>
            <a:lvl5pPr marL="0" lvl="4" indent="0" algn="l" rtl="0">
              <a:spcBef>
                <a:spcPts val="0"/>
              </a:spcBef>
              <a:buNone/>
              <a:defRPr/>
            </a:lvl5pPr>
            <a:lvl6pPr marL="0" lvl="5" indent="0" algn="l" rtl="0">
              <a:spcBef>
                <a:spcPts val="0"/>
              </a:spcBef>
              <a:buNone/>
              <a:defRPr/>
            </a:lvl6pPr>
            <a:lvl7pPr marL="0" lvl="6" indent="0" algn="l" rtl="0">
              <a:spcBef>
                <a:spcPts val="0"/>
              </a:spcBef>
              <a:buNone/>
              <a:defRPr/>
            </a:lvl7pPr>
            <a:lvl8pPr marL="0" lvl="7" indent="0" algn="l" rtl="0">
              <a:spcBef>
                <a:spcPts val="0"/>
              </a:spcBef>
              <a:buNone/>
              <a:defRPr/>
            </a:lvl8pPr>
            <a:lvl9pPr marL="0" lvl="8" indent="0" algn="l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5188876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reenshot">
  <p:cSld name="Screensho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22"/>
          <p:cNvSpPr txBox="1">
            <a:spLocks noGrp="1"/>
          </p:cNvSpPr>
          <p:nvPr>
            <p:ph type="title"/>
          </p:nvPr>
        </p:nvSpPr>
        <p:spPr>
          <a:xfrm>
            <a:off x="695323" y="357808"/>
            <a:ext cx="10794800" cy="86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2"/>
          <p:cNvSpPr txBox="1">
            <a:spLocks noGrp="1"/>
          </p:cNvSpPr>
          <p:nvPr>
            <p:ph type="ftr" idx="11"/>
          </p:nvPr>
        </p:nvSpPr>
        <p:spPr>
          <a:xfrm>
            <a:off x="695325" y="6508467"/>
            <a:ext cx="10794800" cy="3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79" name="Google Shape;179;p22"/>
          <p:cNvSpPr txBox="1">
            <a:spLocks noGrp="1"/>
          </p:cNvSpPr>
          <p:nvPr>
            <p:ph type="sldNum" idx="12"/>
          </p:nvPr>
        </p:nvSpPr>
        <p:spPr>
          <a:xfrm>
            <a:off x="11844528" y="6508467"/>
            <a:ext cx="347600" cy="3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/>
            </a:lvl1pPr>
            <a:lvl2pPr marL="0" lvl="1" indent="0" algn="l" rtl="0">
              <a:spcBef>
                <a:spcPts val="0"/>
              </a:spcBef>
              <a:buNone/>
              <a:defRPr/>
            </a:lvl2pPr>
            <a:lvl3pPr marL="0" lvl="2" indent="0" algn="l" rtl="0">
              <a:spcBef>
                <a:spcPts val="0"/>
              </a:spcBef>
              <a:buNone/>
              <a:defRPr/>
            </a:lvl3pPr>
            <a:lvl4pPr marL="0" lvl="3" indent="0" algn="l" rtl="0">
              <a:spcBef>
                <a:spcPts val="0"/>
              </a:spcBef>
              <a:buNone/>
              <a:defRPr/>
            </a:lvl4pPr>
            <a:lvl5pPr marL="0" lvl="4" indent="0" algn="l" rtl="0">
              <a:spcBef>
                <a:spcPts val="0"/>
              </a:spcBef>
              <a:buNone/>
              <a:defRPr/>
            </a:lvl5pPr>
            <a:lvl6pPr marL="0" lvl="5" indent="0" algn="l" rtl="0">
              <a:spcBef>
                <a:spcPts val="0"/>
              </a:spcBef>
              <a:buNone/>
              <a:defRPr/>
            </a:lvl6pPr>
            <a:lvl7pPr marL="0" lvl="6" indent="0" algn="l" rtl="0">
              <a:spcBef>
                <a:spcPts val="0"/>
              </a:spcBef>
              <a:buNone/>
              <a:defRPr/>
            </a:lvl7pPr>
            <a:lvl8pPr marL="0" lvl="7" indent="0" algn="l" rtl="0">
              <a:spcBef>
                <a:spcPts val="0"/>
              </a:spcBef>
              <a:buNone/>
              <a:defRPr/>
            </a:lvl8pPr>
            <a:lvl9pPr marL="0" lvl="8" indent="0" algn="l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180" name="Google Shape;180;p22"/>
          <p:cNvSpPr txBox="1">
            <a:spLocks noGrp="1"/>
          </p:cNvSpPr>
          <p:nvPr>
            <p:ph type="body" idx="1"/>
          </p:nvPr>
        </p:nvSpPr>
        <p:spPr>
          <a:xfrm>
            <a:off x="695325" y="1638299"/>
            <a:ext cx="10794800" cy="52196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101600" sx="101000" sy="101000" algn="ctr" rotWithShape="0">
              <a:srgbClr val="000000">
                <a:alpha val="98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ctr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>
                <a:solidFill>
                  <a:schemeClr val="dk1"/>
                </a:solidFill>
              </a:defRPr>
            </a:lvl1pPr>
            <a:lvl2pPr marL="1219170" lvl="1" indent="-304792" algn="ctr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>
                <a:solidFill>
                  <a:schemeClr val="dk1"/>
                </a:solidFill>
              </a:defRPr>
            </a:lvl2pPr>
            <a:lvl3pPr marL="1828754" lvl="2" indent="-304792" algn="ctr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>
                <a:solidFill>
                  <a:schemeClr val="dk1"/>
                </a:solidFill>
              </a:defRPr>
            </a:lvl3pPr>
            <a:lvl4pPr marL="2438339" lvl="3" indent="-304792" algn="ctr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>
                <a:solidFill>
                  <a:schemeClr val="dk1"/>
                </a:solidFill>
              </a:defRPr>
            </a:lvl4pPr>
            <a:lvl5pPr marL="3047924" lvl="4" indent="-304792" algn="ctr" rtl="0">
              <a:lnSpc>
                <a:spcPct val="114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>
                <a:solidFill>
                  <a:schemeClr val="dk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91203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7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0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Mulish SemiBold"/>
              <a:buNone/>
              <a:defRPr sz="3200" i="0" u="none" strike="noStrike" cap="none">
                <a:solidFill>
                  <a:schemeClr val="dk1"/>
                </a:solidFill>
                <a:latin typeface="Mulish SemiBold"/>
                <a:ea typeface="Mulish SemiBold"/>
                <a:cs typeface="Mulish SemiBold"/>
                <a:sym typeface="Mulish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body" idx="1"/>
          </p:nvPr>
        </p:nvSpPr>
        <p:spPr>
          <a:xfrm>
            <a:off x="839788" y="2222205"/>
            <a:ext cx="3932000" cy="33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marR="0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Mulish"/>
              <a:buNone/>
              <a:defRPr sz="1600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Mulish"/>
              <a:buNone/>
              <a:defRPr sz="14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Mulish"/>
              <a:buNone/>
              <a:defRPr sz="1200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5pPr>
            <a:lvl6pPr marL="3657509" marR="0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6pPr>
            <a:lvl7pPr marL="4267093" marR="0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7pPr>
            <a:lvl8pPr marL="4876678" marR="0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8pPr>
            <a:lvl9pPr marL="5486263" marR="0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lish"/>
              <a:buNone/>
              <a:defRPr sz="1067" i="0" u="none" strike="noStrike" cap="none">
                <a:solidFill>
                  <a:schemeClr val="dk1"/>
                </a:solidFill>
                <a:latin typeface="Mulish"/>
                <a:ea typeface="Mulish"/>
                <a:cs typeface="Mulish"/>
                <a:sym typeface="Mulish"/>
              </a:defRPr>
            </a:lvl9pPr>
          </a:lstStyle>
          <a:p>
            <a:endParaRPr/>
          </a:p>
        </p:txBody>
      </p:sp>
      <p:sp>
        <p:nvSpPr>
          <p:cNvPr id="368" name="Google Shape;368;p71"/>
          <p:cNvSpPr txBox="1">
            <a:spLocks noGrp="1"/>
          </p:cNvSpPr>
          <p:nvPr>
            <p:ph type="ftr" idx="11"/>
          </p:nvPr>
        </p:nvSpPr>
        <p:spPr>
          <a:xfrm>
            <a:off x="7756359" y="6292552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 dirty="0"/>
          </a:p>
        </p:txBody>
      </p:sp>
      <p:sp>
        <p:nvSpPr>
          <p:cNvPr id="369" name="Google Shape;369;p71"/>
          <p:cNvSpPr>
            <a:spLocks noGrp="1"/>
          </p:cNvSpPr>
          <p:nvPr>
            <p:ph type="pic" idx="2"/>
          </p:nvPr>
        </p:nvSpPr>
        <p:spPr>
          <a:xfrm>
            <a:off x="5183188" y="987427"/>
            <a:ext cx="6172400" cy="46052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393663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64"/>
          <p:cNvSpPr txBox="1">
            <a:spLocks noGrp="1"/>
          </p:cNvSpPr>
          <p:nvPr>
            <p:ph type="title"/>
          </p:nvPr>
        </p:nvSpPr>
        <p:spPr>
          <a:xfrm>
            <a:off x="335251" y="288925"/>
            <a:ext cx="11521600" cy="7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91400" rIns="182850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3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9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7066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">
          <p15:clr>
            <a:srgbClr val="FBAE40"/>
          </p15:clr>
        </p15:guide>
        <p15:guide id="2" pos="27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Light Subtitle">
  <p:cSld name="Content Light Subtitle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9"/>
          <p:cNvSpPr txBox="1">
            <a:spLocks noGrp="1"/>
          </p:cNvSpPr>
          <p:nvPr>
            <p:ph type="title"/>
          </p:nvPr>
        </p:nvSpPr>
        <p:spPr>
          <a:xfrm>
            <a:off x="397933" y="365125"/>
            <a:ext cx="10515600" cy="5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 b="1" i="0" u="none" strike="noStrike" cap="none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57" name="Google Shape;257;p49"/>
          <p:cNvSpPr txBox="1">
            <a:spLocks noGrp="1"/>
          </p:cNvSpPr>
          <p:nvPr>
            <p:ph type="body" idx="1"/>
          </p:nvPr>
        </p:nvSpPr>
        <p:spPr>
          <a:xfrm>
            <a:off x="397933" y="900421"/>
            <a:ext cx="10515600" cy="2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 Mono Medium"/>
              <a:buNone/>
              <a:defRPr sz="1067" i="0" u="none" strike="noStrike" cap="none">
                <a:solidFill>
                  <a:schemeClr val="dk2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5pPr>
            <a:lvl6pPr marL="3657509" marR="0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6pPr>
            <a:lvl7pPr marL="4267093" marR="0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7pPr>
            <a:lvl8pPr marL="4876678" marR="0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8pPr>
            <a:lvl9pPr marL="5486263" marR="0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9pPr>
          </a:lstStyle>
          <a:p>
            <a:endParaRPr/>
          </a:p>
        </p:txBody>
      </p:sp>
      <p:pic>
        <p:nvPicPr>
          <p:cNvPr id="258" name="Google Shape;258;p49" descr="A white letter on a black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1146" y="6273783"/>
            <a:ext cx="1058329" cy="201333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p49"/>
          <p:cNvSpPr txBox="1">
            <a:spLocks noGrp="1"/>
          </p:cNvSpPr>
          <p:nvPr>
            <p:ph type="body" idx="2"/>
          </p:nvPr>
        </p:nvSpPr>
        <p:spPr>
          <a:xfrm>
            <a:off x="389925" y="1440463"/>
            <a:ext cx="10515600" cy="42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75" bIns="34275" anchor="t" anchorCtr="0">
            <a:normAutofit/>
          </a:bodyPr>
          <a:lstStyle>
            <a:lvl1pPr marL="609585" lvl="0" indent="-431789" algn="l">
              <a:lnSpc>
                <a:spcPct val="130000"/>
              </a:lnSpc>
              <a:spcBef>
                <a:spcPts val="1067"/>
              </a:spcBef>
              <a:spcAft>
                <a:spcPts val="0"/>
              </a:spcAft>
              <a:buSzPts val="1500"/>
              <a:buFont typeface="Helvetica Neue"/>
              <a:buChar char="•"/>
              <a:defRPr sz="2000"/>
            </a:lvl1pPr>
            <a:lvl2pPr marL="1219170" lvl="1" indent="-431789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SzPts val="1500"/>
              <a:buFont typeface="Helvetica Neue"/>
              <a:buChar char="‑"/>
              <a:defRPr sz="2000"/>
            </a:lvl2pPr>
            <a:lvl3pPr marL="1828754" lvl="2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SzPts val="1200"/>
              <a:buFont typeface="Helvetica Neue"/>
              <a:buChar char="○"/>
              <a:defRPr/>
            </a:lvl3pPr>
            <a:lvl4pPr marL="2438339" lvl="3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SzPts val="1200"/>
              <a:buFont typeface="Helvetica Neue"/>
              <a:buChar char="▪"/>
              <a:defRPr/>
            </a:lvl4pPr>
            <a:lvl5pPr marL="3047924" lvl="4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SzPts val="1200"/>
              <a:buFont typeface="Helvetica Neue"/>
              <a:buChar char="•"/>
              <a:defRPr/>
            </a:lvl5pPr>
            <a:lvl6pPr marL="3657509" lvl="5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Clr>
                <a:schemeClr val="dk2"/>
              </a:buClr>
              <a:buSzPts val="1200"/>
              <a:buFont typeface="Helvetica Neue"/>
              <a:buChar char="•"/>
              <a:defRPr sz="16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Clr>
                <a:schemeClr val="dk2"/>
              </a:buClr>
              <a:buSzPts val="1200"/>
              <a:buFont typeface="Helvetica Neue"/>
              <a:buChar char="•"/>
              <a:defRPr sz="16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Clr>
                <a:schemeClr val="dk2"/>
              </a:buClr>
              <a:buSzPts val="1200"/>
              <a:buFont typeface="Helvetica Neue"/>
              <a:buChar char="•"/>
              <a:defRPr sz="16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406390" algn="l">
              <a:lnSpc>
                <a:spcPct val="130000"/>
              </a:lnSpc>
              <a:spcBef>
                <a:spcPts val="533"/>
              </a:spcBef>
              <a:spcAft>
                <a:spcPts val="0"/>
              </a:spcAft>
              <a:buClr>
                <a:schemeClr val="dk2"/>
              </a:buClr>
              <a:buSzPts val="1200"/>
              <a:buFont typeface="Helvetica Neue"/>
              <a:buChar char="•"/>
              <a:defRPr sz="16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838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10">
          <p15:clr>
            <a:srgbClr val="FBAE40"/>
          </p15:clr>
        </p15:guide>
        <p15:guide id="2" pos="18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ONLY_4">
  <p:cSld name="TITLE_ONLY_4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4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4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867"/>
            </a:lvl1pPr>
            <a:lvl2pPr lvl="1">
              <a:buNone/>
              <a:defRPr sz="1867"/>
            </a:lvl2pPr>
            <a:lvl3pPr lvl="2">
              <a:buNone/>
              <a:defRPr sz="1867"/>
            </a:lvl3pPr>
            <a:lvl4pPr lvl="3">
              <a:buNone/>
              <a:defRPr sz="1867"/>
            </a:lvl4pPr>
            <a:lvl5pPr lvl="4">
              <a:buNone/>
              <a:defRPr sz="1867"/>
            </a:lvl5pPr>
            <a:lvl6pPr lvl="5">
              <a:buNone/>
              <a:defRPr sz="1867"/>
            </a:lvl6pPr>
            <a:lvl7pPr lvl="6">
              <a:buNone/>
              <a:defRPr sz="1867"/>
            </a:lvl7pPr>
            <a:lvl8pPr lvl="7">
              <a:buNone/>
              <a:defRPr sz="1867"/>
            </a:lvl8pPr>
            <a:lvl9pPr lvl="8">
              <a:buNone/>
              <a:defRPr sz="1867"/>
            </a:lvl9pPr>
          </a:lstStyle>
          <a:p>
            <a:pPr algn="l"/>
            <a:fld id="{00000000-1234-1234-1234-123412341234}" type="slidenum">
              <a:rPr lang="en" smtClean="0"/>
              <a:pPr algn="l"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5866344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32"/>
          <p:cNvSpPr txBox="1">
            <a:spLocks noGrp="1"/>
          </p:cNvSpPr>
          <p:nvPr>
            <p:ph type="title"/>
          </p:nvPr>
        </p:nvSpPr>
        <p:spPr>
          <a:xfrm>
            <a:off x="397933" y="365125"/>
            <a:ext cx="10515600" cy="5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3200" b="1" i="0" u="none" strike="noStrike" cap="none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867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70" name="Google Shape;170;p32"/>
          <p:cNvSpPr txBox="1">
            <a:spLocks noGrp="1"/>
          </p:cNvSpPr>
          <p:nvPr>
            <p:ph type="body" idx="1"/>
          </p:nvPr>
        </p:nvSpPr>
        <p:spPr>
          <a:xfrm>
            <a:off x="397933" y="900421"/>
            <a:ext cx="10515600" cy="2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 Mono Medium"/>
              <a:buNone/>
              <a:defRPr sz="1067" i="0" u="none" strike="noStrike" cap="none">
                <a:solidFill>
                  <a:schemeClr val="dk2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5pPr>
            <a:lvl6pPr marL="3657509" marR="0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6pPr>
            <a:lvl7pPr marL="4267093" marR="0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7pPr>
            <a:lvl8pPr marL="4876678" marR="0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8pPr>
            <a:lvl9pPr marL="5486263" marR="0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800"/>
              <a:buFont typeface="Roboto Mono Medium"/>
              <a:buNone/>
              <a:defRPr sz="1067" i="0" u="none" strike="noStrike" cap="none">
                <a:solidFill>
                  <a:srgbClr val="888888"/>
                </a:solidFill>
                <a:latin typeface="Roboto Mono Medium"/>
                <a:ea typeface="Roboto Mono Medium"/>
                <a:cs typeface="Roboto Mono Medium"/>
                <a:sym typeface="Roboto Mono Medium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393122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7"/>
          <p:cNvSpPr txBox="1">
            <a:spLocks noGrp="1"/>
          </p:cNvSpPr>
          <p:nvPr>
            <p:ph type="sldNum" idx="12"/>
          </p:nvPr>
        </p:nvSpPr>
        <p:spPr>
          <a:xfrm>
            <a:off x="11296611" y="6304927"/>
            <a:ext cx="731600" cy="33852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sp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66" name="Google Shape;66;p17"/>
          <p:cNvSpPr txBox="1">
            <a:spLocks noGrp="1"/>
          </p:cNvSpPr>
          <p:nvPr>
            <p:ph type="title"/>
          </p:nvPr>
        </p:nvSpPr>
        <p:spPr>
          <a:xfrm>
            <a:off x="609600" y="609600"/>
            <a:ext cx="1097280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body" idx="1"/>
          </p:nvPr>
        </p:nvSpPr>
        <p:spPr>
          <a:xfrm>
            <a:off x="609600" y="1348400"/>
            <a:ext cx="10972800" cy="3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●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1pPr>
            <a:lvl2pPr marL="1219170" lvl="1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○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2pPr>
            <a:lvl3pPr marL="1828754" lvl="2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■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3pPr>
            <a:lvl4pPr marL="2438339" lvl="3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●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4pPr>
            <a:lvl5pPr marL="3047924" lvl="4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○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5pPr>
            <a:lvl6pPr marL="3657509" lvl="5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■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6pPr>
            <a:lvl7pPr marL="4267093" lvl="6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●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7pPr>
            <a:lvl8pPr marL="4876678" lvl="7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○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8pPr>
            <a:lvl9pPr marL="5486263" lvl="8" indent="-457189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800"/>
              <a:buFont typeface="Archivo"/>
              <a:buChar char="■"/>
              <a:defRPr sz="2400"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9pPr>
          </a:lstStyle>
          <a:p>
            <a:endParaRPr/>
          </a:p>
        </p:txBody>
      </p:sp>
      <p:pic>
        <p:nvPicPr>
          <p:cNvPr id="68" name="Google Shape;68;p17"/>
          <p:cNvPicPr preferRelativeResize="0"/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609601" y="151267"/>
            <a:ext cx="697433" cy="16893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9" name="Google Shape;69;p17"/>
          <p:cNvCxnSpPr/>
          <p:nvPr/>
        </p:nvCxnSpPr>
        <p:spPr>
          <a:xfrm>
            <a:off x="1444433" y="235733"/>
            <a:ext cx="10139600" cy="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975973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609600" y="552786"/>
            <a:ext cx="10972800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ctr" anchorCtr="0">
            <a:sp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Font typeface="Archivo"/>
              <a:buNone/>
              <a:defRPr sz="4000">
                <a:latin typeface="Archivo"/>
                <a:ea typeface="Archivo"/>
                <a:cs typeface="Archivo"/>
                <a:sym typeface="Archivo"/>
              </a:defRPr>
            </a:lvl9pPr>
          </a:lstStyle>
          <a:p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sldNum" idx="12"/>
          </p:nvPr>
        </p:nvSpPr>
        <p:spPr>
          <a:xfrm>
            <a:off x="11296611" y="6304927"/>
            <a:ext cx="731600" cy="33852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sp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pic>
        <p:nvPicPr>
          <p:cNvPr id="73" name="Google Shape;73;p18"/>
          <p:cNvPicPr preferRelativeResize="0"/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609601" y="151267"/>
            <a:ext cx="697433" cy="168933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18"/>
          <p:cNvSpPr txBox="1">
            <a:spLocks noGrp="1"/>
          </p:cNvSpPr>
          <p:nvPr>
            <p:ph type="subTitle" idx="1"/>
          </p:nvPr>
        </p:nvSpPr>
        <p:spPr>
          <a:xfrm>
            <a:off x="609600" y="1524000"/>
            <a:ext cx="3655200" cy="5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9pPr>
          </a:lstStyle>
          <a:p>
            <a:endParaRPr/>
          </a:p>
        </p:txBody>
      </p:sp>
      <p:sp>
        <p:nvSpPr>
          <p:cNvPr id="75" name="Google Shape;75;p18"/>
          <p:cNvSpPr txBox="1">
            <a:spLocks noGrp="1"/>
          </p:cNvSpPr>
          <p:nvPr>
            <p:ph type="subTitle" idx="2"/>
          </p:nvPr>
        </p:nvSpPr>
        <p:spPr>
          <a:xfrm>
            <a:off x="6096000" y="1524000"/>
            <a:ext cx="3655200" cy="5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777472"/>
              </a:buClr>
              <a:buSzPts val="1400"/>
              <a:buFont typeface="Archivo"/>
              <a:buNone/>
              <a:defRPr>
                <a:solidFill>
                  <a:srgbClr val="777472"/>
                </a:solidFill>
                <a:latin typeface="Archivo"/>
                <a:ea typeface="Archivo"/>
                <a:cs typeface="Archivo"/>
                <a:sym typeface="Archivo"/>
              </a:defRPr>
            </a:lvl9pPr>
          </a:lstStyle>
          <a:p>
            <a:endParaRPr/>
          </a:p>
        </p:txBody>
      </p:sp>
      <p:cxnSp>
        <p:nvCxnSpPr>
          <p:cNvPr id="76" name="Google Shape;76;p18"/>
          <p:cNvCxnSpPr/>
          <p:nvPr/>
        </p:nvCxnSpPr>
        <p:spPr>
          <a:xfrm>
            <a:off x="1444433" y="235733"/>
            <a:ext cx="10139600" cy="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68501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499"/>
            <a:ext cx="5248276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81369-2E97-4C0B-9762-D765E2837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0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: Colo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180403-5CF2-408B-826A-30FCEDEDC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2FA54-00D8-4D4C-AE4F-DE92576AA996}" type="datetime1">
              <a:rPr lang="en-US" smtClean="0"/>
              <a:t>4/11/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242A1C-DC6C-4F4E-A4D2-1391462B7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DFBDF6-DDEB-4C08-9BF4-CA489631B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8012F1-51E5-4312-8440-7D8ECBEAB4B8}"/>
              </a:ext>
            </a:extLst>
          </p:cNvPr>
          <p:cNvSpPr/>
          <p:nvPr userDrawn="1"/>
        </p:nvSpPr>
        <p:spPr>
          <a:xfrm>
            <a:off x="9033507" y="1"/>
            <a:ext cx="2548893" cy="12046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D00F0C44-30BF-4047-AE0B-E1BEBFA2C076}"/>
              </a:ext>
            </a:extLst>
          </p:cNvPr>
          <p:cNvSpPr txBox="1">
            <a:spLocks/>
          </p:cNvSpPr>
          <p:nvPr userDrawn="1"/>
        </p:nvSpPr>
        <p:spPr>
          <a:xfrm>
            <a:off x="838200" y="69532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5C29CE-3041-7140-9BA9-DCB3249F163A}" type="datetime1">
              <a:rPr lang="en-US" smtClean="0"/>
              <a:pPr/>
              <a:t>4/11/25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ECFF4F0-F52A-497F-920A-88FF64C2D4B3}"/>
              </a:ext>
            </a:extLst>
          </p:cNvPr>
          <p:cNvGrpSpPr/>
          <p:nvPr userDrawn="1"/>
        </p:nvGrpSpPr>
        <p:grpSpPr>
          <a:xfrm>
            <a:off x="636705" y="1308289"/>
            <a:ext cx="3428999" cy="4175137"/>
            <a:chOff x="457200" y="296579"/>
            <a:chExt cx="2360142" cy="24603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73C5113-A0C3-4E6F-B2B4-8B89188460C0}"/>
                </a:ext>
              </a:extLst>
            </p:cNvPr>
            <p:cNvSpPr/>
            <p:nvPr/>
          </p:nvSpPr>
          <p:spPr>
            <a:xfrm>
              <a:off x="457200" y="390922"/>
              <a:ext cx="2360142" cy="2365974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3840" tIns="195072" rIns="243840" bIns="195072" rtlCol="0" anchor="ctr"/>
            <a:lstStyle/>
            <a:p>
              <a:pPr algn="ctr" defTabSz="609576">
                <a:defRPr/>
              </a:pPr>
              <a:endParaRPr lang="en-US" sz="2400" dirty="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DC5990F-E094-4F88-A844-9881CBBE5BF7}"/>
                </a:ext>
              </a:extLst>
            </p:cNvPr>
            <p:cNvSpPr txBox="1"/>
            <p:nvPr/>
          </p:nvSpPr>
          <p:spPr>
            <a:xfrm>
              <a:off x="1166629" y="296579"/>
              <a:ext cx="941283" cy="201386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lIns="0" tIns="0" rIns="0" bIns="0" rtlCol="0" anchor="ctr" anchorCtr="0">
              <a:noAutofit/>
            </a:bodyPr>
            <a:lstStyle>
              <a:lvl1pPr indent="0">
                <a:lnSpc>
                  <a:spcPct val="90000"/>
                </a:lnSpc>
                <a:spcBef>
                  <a:spcPct val="20000"/>
                </a:spcBef>
                <a:buFontTx/>
                <a:buNone/>
                <a:defRPr b="0" i="0">
                  <a:cs typeface="Amazon Ember Regular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600" b="0" i="0">
                  <a:cs typeface="Amazon Ember Regular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400" b="0" i="0">
                  <a:cs typeface="Amazon Ember Regular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–"/>
                <a:defRPr sz="1200" b="0" i="0">
                  <a:cs typeface="Amazon Ember Regular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»"/>
                <a:defRPr sz="1200" b="0" i="0">
                  <a:cs typeface="Amazon Ember Regular" charset="0"/>
                </a:defRPr>
              </a:lvl5pPr>
              <a:lvl6pPr marL="2514600" indent="-2286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algn="ctr" defTabSz="609576">
                <a:defRPr/>
              </a:pPr>
              <a:r>
                <a:rPr lang="en-US" sz="1600" b="1" dirty="0">
                  <a:solidFill>
                    <a:schemeClr val="accent1"/>
                  </a:solidFill>
                  <a:latin typeface="+mn-lt"/>
                </a:rPr>
                <a:t>CHALLENGE</a:t>
              </a:r>
            </a:p>
          </p:txBody>
        </p:sp>
      </p:grpSp>
      <p:sp>
        <p:nvSpPr>
          <p:cNvPr id="12" name="Title 8">
            <a:extLst>
              <a:ext uri="{FF2B5EF4-FFF2-40B4-BE49-F238E27FC236}">
                <a16:creationId xmlns:a16="http://schemas.microsoft.com/office/drawing/2014/main" id="{6C762A47-D515-4FB5-80C0-561DC57E0A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72401"/>
            <a:ext cx="7896225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ustomer name and the outcom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CB695C4-1C4D-4DF9-84C9-03854EC7738D}"/>
              </a:ext>
            </a:extLst>
          </p:cNvPr>
          <p:cNvGrpSpPr/>
          <p:nvPr userDrawn="1"/>
        </p:nvGrpSpPr>
        <p:grpSpPr>
          <a:xfrm>
            <a:off x="4401457" y="1403455"/>
            <a:ext cx="7164726" cy="2075087"/>
            <a:chOff x="4401457" y="1403455"/>
            <a:chExt cx="7503886" cy="207508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0F23035-F2E9-4FD8-A349-3FC9DFC20D51}"/>
                </a:ext>
              </a:extLst>
            </p:cNvPr>
            <p:cNvSpPr/>
            <p:nvPr/>
          </p:nvSpPr>
          <p:spPr>
            <a:xfrm>
              <a:off x="4401457" y="1469986"/>
              <a:ext cx="7503886" cy="2008556"/>
            </a:xfrm>
            <a:prstGeom prst="rect">
              <a:avLst/>
            </a:prstGeom>
            <a:noFill/>
            <a:ln w="25400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3840" tIns="195072" rIns="243840" bIns="195072" rtlCol="0" anchor="ctr"/>
            <a:lstStyle/>
            <a:p>
              <a:pPr algn="ctr" defTabSz="609576">
                <a:defRPr/>
              </a:pPr>
              <a:endParaRPr lang="en-US" sz="2400" dirty="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511D558-03C7-4912-A823-02DFC198372E}"/>
                </a:ext>
              </a:extLst>
            </p:cNvPr>
            <p:cNvSpPr txBox="1"/>
            <p:nvPr/>
          </p:nvSpPr>
          <p:spPr>
            <a:xfrm>
              <a:off x="7544494" y="1403455"/>
              <a:ext cx="1217813" cy="208528"/>
            </a:xfrm>
            <a:prstGeom prst="rect">
              <a:avLst/>
            </a:prstGeom>
            <a:solidFill>
              <a:srgbClr val="232F3E"/>
            </a:solidFill>
          </p:spPr>
          <p:txBody>
            <a:bodyPr vert="horz" lIns="0" tIns="0" rIns="0" bIns="0" rtlCol="0" anchor="ctr" anchorCtr="0">
              <a:noAutofit/>
            </a:bodyPr>
            <a:lstStyle>
              <a:lvl1pPr indent="0">
                <a:lnSpc>
                  <a:spcPct val="90000"/>
                </a:lnSpc>
                <a:spcBef>
                  <a:spcPct val="20000"/>
                </a:spcBef>
                <a:buFontTx/>
                <a:buNone/>
                <a:defRPr b="0" i="0">
                  <a:cs typeface="Amazon Ember Regular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600" b="0" i="0">
                  <a:cs typeface="Amazon Ember Regular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400" b="0" i="0">
                  <a:cs typeface="Amazon Ember Regular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–"/>
                <a:defRPr sz="1200" b="0" i="0">
                  <a:cs typeface="Amazon Ember Regular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»"/>
                <a:defRPr sz="1200" b="0" i="0">
                  <a:cs typeface="Amazon Ember Regular" charset="0"/>
                </a:defRPr>
              </a:lvl5pPr>
              <a:lvl6pPr marL="2514600" indent="-2286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algn="ctr" defTabSz="609576">
                <a:defRPr/>
              </a:pPr>
              <a:r>
                <a:rPr lang="en-US" sz="1600" b="1" dirty="0">
                  <a:solidFill>
                    <a:schemeClr val="accent4"/>
                  </a:solidFill>
                  <a:latin typeface="+mn-lt"/>
                </a:rPr>
                <a:t>SOLUTIO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5347AD1-EFB8-41BF-94A0-D585DA8321C6}"/>
              </a:ext>
            </a:extLst>
          </p:cNvPr>
          <p:cNvGrpSpPr/>
          <p:nvPr userDrawn="1"/>
        </p:nvGrpSpPr>
        <p:grpSpPr>
          <a:xfrm>
            <a:off x="4401457" y="3797830"/>
            <a:ext cx="7180943" cy="1679248"/>
            <a:chOff x="457200" y="337305"/>
            <a:chExt cx="2360142" cy="241959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F81A172-C312-4AAC-87E6-61A13E593E0A}"/>
                </a:ext>
              </a:extLst>
            </p:cNvPr>
            <p:cNvSpPr/>
            <p:nvPr/>
          </p:nvSpPr>
          <p:spPr>
            <a:xfrm>
              <a:off x="457200" y="390922"/>
              <a:ext cx="2360142" cy="2365974"/>
            </a:xfrm>
            <a:prstGeom prst="rect">
              <a:avLst/>
            </a:prstGeom>
            <a:noFill/>
            <a:ln w="254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3840" tIns="195072" rIns="243840" bIns="195072" rtlCol="0" anchor="ctr"/>
            <a:lstStyle/>
            <a:p>
              <a:pPr algn="ctr" defTabSz="609576">
                <a:defRPr/>
              </a:pPr>
              <a:endParaRPr lang="en-US" sz="2400" dirty="0">
                <a:solidFill>
                  <a:srgbClr val="FFFFFF"/>
                </a:solidFill>
                <a:latin typeface="Amazon Ember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9556907-A82B-46A5-B4D8-730EA2E3B0F1}"/>
                </a:ext>
              </a:extLst>
            </p:cNvPr>
            <p:cNvSpPr txBox="1"/>
            <p:nvPr/>
          </p:nvSpPr>
          <p:spPr>
            <a:xfrm>
              <a:off x="1439152" y="337305"/>
              <a:ext cx="396237" cy="197853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lIns="0" tIns="0" rIns="0" bIns="0" rtlCol="0" anchor="ctr" anchorCtr="0">
              <a:noAutofit/>
            </a:bodyPr>
            <a:lstStyle>
              <a:lvl1pPr indent="0">
                <a:lnSpc>
                  <a:spcPct val="90000"/>
                </a:lnSpc>
                <a:spcBef>
                  <a:spcPct val="20000"/>
                </a:spcBef>
                <a:buFontTx/>
                <a:buNone/>
                <a:defRPr b="0" i="0">
                  <a:cs typeface="Amazon Ember Regular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600" b="0" i="0">
                  <a:cs typeface="Amazon Ember Regular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•"/>
                <a:defRPr sz="1400" b="0" i="0">
                  <a:cs typeface="Amazon Ember Regular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–"/>
                <a:defRPr sz="1200" b="0" i="0">
                  <a:cs typeface="Amazon Ember Regular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0000"/>
                </a:spcBef>
                <a:buFont typeface="Arial"/>
                <a:buChar char="»"/>
                <a:defRPr sz="1200" b="0" i="0">
                  <a:cs typeface="Amazon Ember Regular" charset="0"/>
                </a:defRPr>
              </a:lvl5pPr>
              <a:lvl6pPr marL="2514600" indent="-2286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algn="ctr" defTabSz="609576">
                <a:defRPr/>
              </a:pPr>
              <a:r>
                <a:rPr lang="en-US" sz="1600" b="1" dirty="0">
                  <a:solidFill>
                    <a:schemeClr val="accent3"/>
                  </a:solidFill>
                  <a:latin typeface="+mn-lt"/>
                </a:rPr>
                <a:t>OUTCOME</a:t>
              </a:r>
            </a:p>
          </p:txBody>
        </p:sp>
      </p:grp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115A77D5-E679-4E51-8948-24761394B08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24701" y="378453"/>
            <a:ext cx="2133600" cy="480131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4660B461-9F4A-41FD-9EE3-AF30EEC60B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7124" y="1669090"/>
            <a:ext cx="3085573" cy="3652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800"/>
            </a:lvl1pPr>
            <a:lvl2pPr marL="285750" indent="0">
              <a:buNone/>
              <a:defRPr sz="2000"/>
            </a:lvl2pPr>
            <a:lvl3pPr marL="628650" indent="0">
              <a:buNone/>
              <a:defRPr sz="2000"/>
            </a:lvl3pPr>
            <a:lvl4pPr marL="858838" indent="0">
              <a:buNone/>
              <a:defRPr sz="2000"/>
            </a:lvl4pPr>
            <a:lvl5pPr marL="1030288" indent="0">
              <a:buNone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ustomer’s challenge. Should be no more than approximately 50 words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40E02EC3-FC53-4208-81B5-40B9D7681B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82058" y="1665487"/>
            <a:ext cx="6819849" cy="17127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800"/>
            </a:lvl1pPr>
            <a:lvl2pPr marL="285750" indent="0">
              <a:buNone/>
              <a:defRPr sz="2000"/>
            </a:lvl2pPr>
            <a:lvl3pPr marL="628650" indent="0">
              <a:buNone/>
              <a:defRPr sz="2000"/>
            </a:lvl3pPr>
            <a:lvl4pPr marL="858838" indent="0">
              <a:buNone/>
              <a:defRPr sz="2000"/>
            </a:lvl4pPr>
            <a:lvl5pPr marL="1030288" indent="0">
              <a:buNone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ow the key services were used to solve the challenge. Should be no more than approximately 70 word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br>
              <a:rPr lang="en-US" dirty="0"/>
            </a:b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FE34FA-0113-4DA5-B138-4C5D05C20F4A}"/>
              </a:ext>
            </a:extLst>
          </p:cNvPr>
          <p:cNvSpPr/>
          <p:nvPr userDrawn="1"/>
        </p:nvSpPr>
        <p:spPr>
          <a:xfrm>
            <a:off x="-19664" y="5733836"/>
            <a:ext cx="12231328" cy="482334"/>
          </a:xfrm>
          <a:prstGeom prst="rect">
            <a:avLst/>
          </a:prstGeom>
          <a:solidFill>
            <a:srgbClr val="333F4E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43840" tIns="195072" rIns="243840" bIns="195072" rtlCol="0" anchor="ctr"/>
          <a:lstStyle/>
          <a:p>
            <a:pPr lvl="0" algn="ctr" defTabSz="609576"/>
            <a:endParaRPr lang="en-US" sz="2400" dirty="0">
              <a:solidFill>
                <a:srgbClr val="FFFFFF"/>
              </a:solidFill>
              <a:latin typeface="Amazon Ember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625CDD-6697-4D54-8E55-2973D8D310B5}"/>
              </a:ext>
            </a:extLst>
          </p:cNvPr>
          <p:cNvSpPr txBox="1"/>
          <p:nvPr userDrawn="1"/>
        </p:nvSpPr>
        <p:spPr>
          <a:xfrm>
            <a:off x="1667419" y="5842837"/>
            <a:ext cx="1731350" cy="262043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indent="0">
              <a:lnSpc>
                <a:spcPct val="90000"/>
              </a:lnSpc>
              <a:spcBef>
                <a:spcPct val="20000"/>
              </a:spcBef>
              <a:buFontTx/>
              <a:buNone/>
              <a:defRPr b="0" i="0">
                <a:cs typeface="Amazon Ember Regular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1600" b="0" i="0">
                <a:cs typeface="Amazon Ember Regular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buFont typeface="Arial"/>
              <a:buChar char="•"/>
              <a:defRPr sz="1400" b="0" i="0">
                <a:cs typeface="Amazon Ember Regular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buFont typeface="Arial"/>
              <a:buChar char="–"/>
              <a:defRPr sz="1200" b="0" i="0">
                <a:cs typeface="Amazon Ember Regular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Font typeface="Arial"/>
              <a:buChar char="»"/>
              <a:defRPr sz="1200" b="0" i="0">
                <a:cs typeface="Amazon Ember Regular" charset="0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 defTabSz="609576">
              <a:defRPr/>
            </a:pPr>
            <a:r>
              <a:rPr lang="en-US" sz="1600" b="1" dirty="0">
                <a:solidFill>
                  <a:schemeClr val="accent4"/>
                </a:solidFill>
                <a:latin typeface="+mn-lt"/>
              </a:rPr>
              <a:t>KEY SERVICE(S):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5746EB9-4035-45FD-9CBB-964224E329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058" y="4073915"/>
            <a:ext cx="6819849" cy="1297743"/>
          </a:xfrm>
        </p:spPr>
        <p:txBody>
          <a:bodyPr/>
          <a:lstStyle>
            <a:lvl1pPr marL="285750" indent="-285750">
              <a:buFont typeface="Wingdings" panose="05000000000000000000" pitchFamily="2" charset="2"/>
              <a:buChar char="ü"/>
              <a:defRPr sz="1800"/>
            </a:lvl1pPr>
            <a:lvl2pPr marL="285750" indent="0">
              <a:buNone/>
              <a:defRPr sz="2000"/>
            </a:lvl2pPr>
            <a:lvl3pPr marL="628650" indent="0">
              <a:buNone/>
              <a:defRPr sz="2000"/>
            </a:lvl3pPr>
            <a:lvl4pPr marL="858838" indent="0">
              <a:buNone/>
              <a:defRPr sz="2000"/>
            </a:lvl4pPr>
            <a:lvl5pPr marL="1030288" indent="0">
              <a:buNone/>
              <a:defRPr sz="2000"/>
            </a:lvl5pPr>
          </a:lstStyle>
          <a:p>
            <a:pPr lvl="0"/>
            <a:r>
              <a:rPr lang="en-US" dirty="0"/>
              <a:t>Include outcome and key takeaways. If you have multiple short bullets, you can use two columns.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907DEC5-B8C6-4C34-98E4-55198F1293BF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89556" y="5734050"/>
            <a:ext cx="6382568" cy="479425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4pPr marL="858838" indent="0">
              <a:buNone/>
              <a:defRPr/>
            </a:lvl4pPr>
          </a:lstStyle>
          <a:p>
            <a:pPr lvl="0"/>
            <a:r>
              <a:rPr lang="en-US" dirty="0"/>
              <a:t>[Insert service name/logo of all services used in the solution]</a:t>
            </a:r>
          </a:p>
        </p:txBody>
      </p:sp>
    </p:spTree>
    <p:extLst>
      <p:ext uri="{BB962C8B-B14F-4D97-AF65-F5344CB8AC3E}">
        <p14:creationId xmlns:p14="http://schemas.microsoft.com/office/powerpoint/2010/main" val="356009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_Bulleted_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3248"/>
            <a:ext cx="11258550" cy="727655"/>
          </a:xfrm>
        </p:spPr>
        <p:txBody>
          <a:bodyPr>
            <a:normAutofit/>
          </a:bodyPr>
          <a:lstStyle>
            <a:lvl1pPr>
              <a:defRPr sz="3167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6C5D45-2516-944B-852E-9416AD2871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371600"/>
            <a:ext cx="5334000" cy="4241347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0DD99-A52C-8C44-9396-106AF36BB4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1750" y="1371600"/>
            <a:ext cx="5334000" cy="4241347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9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38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CCD5696-3AFE-CA4C-A90F-AFBFD792D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" y="0"/>
            <a:ext cx="12189533" cy="6859388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87C332-74F0-40DD-9963-97955A1009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91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BABCD0-1743-5044-65C6-76C49D652E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E480461-FEDB-42AB-833C-BB5AC9A38D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80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F1EBE1-B103-1A96-A273-A2C25E977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345453-99F5-4B73-AF43-DBDA5F31CD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d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9519C8-EC02-9EFE-B45E-AEB3FD542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3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F07B93A-F25B-4FEE-A989-357CEEAAA6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37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d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590155-1147-789F-69B9-AA801C911F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4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E1EC9A-CBEE-43CF-AF49-BEF09D1419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57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1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61572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D828E790-E54E-933F-73E6-10D495363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5377545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445935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445935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F5EC38-1693-49D6-817D-19A11C3F03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81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1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EA193E4-36AD-16D0-E4CD-E8FBB78B10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5377545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445935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445935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CDC0848-34EC-4E3F-94D4-E885C954F3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0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34125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34125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2CB0EC-BB93-4417-89BD-8704180EA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34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1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63421D6-393A-1166-CB2E-DE48FF2491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5377545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445935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445935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0A67AC6-CA25-458F-9CC4-DDA605874F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50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2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61572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1996599-D818-0D38-EBBE-0E3E301A54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337853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" y="2126159"/>
            <a:ext cx="6337854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337853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F472154-CE71-4DAE-8B32-7B7D567059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5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2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DCA5436-9622-A05C-C27B-7B5E33DB0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337853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" y="2126159"/>
            <a:ext cx="6337854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337853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DE33308-B632-4174-94C2-A9F85D6918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7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2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E62A2447-5073-7A3B-6E85-303ABCDBCC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337853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" y="2126159"/>
            <a:ext cx="6337854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337853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A03055C-6A3C-4D84-8153-F26FCC590D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26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3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E19F132-F1A1-AE10-2AF2-50896C8501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60998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9C4245B-574B-4423-8D87-3AAF1B1FD3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3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3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42D2DFD-F2EF-37A8-9BF2-7EF03ABE9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60998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A9239D5-F47C-4276-AD24-EBBC6C5BE7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t 3 - block comp 3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D098-1948-AEE8-9789-45887A0FA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5" cy="6861571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47FD97B-0850-D701-22AE-692E67CA68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60998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B8DE4AC-AB45-8A42-A9DB-9A2F5C33B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5D3C39E-991A-7C43-B950-F707ACD43B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700B085-D1B8-B14C-8D3B-516263D1C318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6F00E9-61DC-49E5-BE24-8EC92A39C0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04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91CB6-D820-4A96-8204-600D7D956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 layou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750401-572B-4B45-BF07-5D528B05F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3000"/>
              </a:spcAft>
              <a:buNone/>
              <a:defRPr sz="2400"/>
            </a:lvl1pPr>
            <a:lvl2pPr marL="0" indent="0">
              <a:spcAft>
                <a:spcPts val="3000"/>
              </a:spcAft>
              <a:buNone/>
              <a:defRPr sz="2400"/>
            </a:lvl2pPr>
            <a:lvl3pPr marL="0" indent="0">
              <a:spcAft>
                <a:spcPts val="3000"/>
              </a:spcAft>
              <a:buNone/>
              <a:defRPr sz="2400"/>
            </a:lvl3pPr>
            <a:lvl4pPr marL="0" indent="0">
              <a:spcAft>
                <a:spcPts val="3000"/>
              </a:spcAft>
              <a:buNone/>
              <a:defRPr sz="2400"/>
            </a:lvl4pPr>
            <a:lvl5pPr marL="0" indent="0">
              <a:spcAft>
                <a:spcPts val="3000"/>
              </a:spcAft>
              <a:buNone/>
              <a:defRPr sz="2400"/>
            </a:lvl5pPr>
          </a:lstStyle>
          <a:p>
            <a:pPr lvl="0"/>
            <a:r>
              <a:rPr lang="en-US" dirty="0"/>
              <a:t>Enter high-level agenda item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4C0F27-F073-46C5-99AA-D6BC67A40F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907AE9-2A8E-446F-AC5C-E522F1C0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09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907AE9-2A8E-446F-AC5C-E522F1C0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31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05D547-F845-48C9-979D-DD2269BB9C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86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033A21-874C-70EF-02C7-296EF71EF2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366FB56-E159-49EA-ED65-E2DFA177B7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7728857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D1678136-60AD-1144-8D64-7A5B04B9922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37A45-3492-46BC-9D48-C3D405117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05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9354A49-7C0F-EC5E-8B3F-25196C9A9F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EF18002-5CD0-9ADE-49D8-A0648DCCFD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7728857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D1678136-60AD-1144-8D64-7A5B04B9922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37A45-3492-46BC-9D48-C3D405117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54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Color set 3 -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E2D8F5-93A5-A960-3D20-7080C1ECB1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D1678136-60AD-1144-8D64-7A5B04B9922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37A45-3492-46BC-9D48-C3D405117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631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d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3F4303-CDF6-64B0-C285-21B79F2541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8F7672B-A5C3-5FB3-486C-5C480FC25A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7728857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D1678136-60AD-1144-8D64-7A5B04B9922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37A45-3492-46BC-9D48-C3D405117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33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Color set 3 - d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E30DD7-E633-7B18-5188-CF6050BEA5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D1678136-60AD-1144-8D64-7A5B04B9922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37A45-3492-46BC-9D48-C3D405117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48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Color set 3 - block comp 1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094" cy="68685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B192CD-B4E6-0919-4147-B8F873FBFF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70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1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8092" cy="686858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F5CFA9B-19A6-157C-521D-BEE2F5342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2956136-9E6F-0DE9-54D0-03CB360672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59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1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8092" cy="686858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43BE923-0F37-E3BD-627E-080A1708D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AC18EE-4313-8DCD-040B-17D12F169C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9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2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8091" cy="686858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0F90813-4129-D2DE-63BF-0E36DE47A8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09F75E-7BBB-2BE3-E198-7AF863AC1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4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2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8091" cy="686858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DCA6D53-B85D-6D01-638D-2CA02CD51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C451DB-1817-20DE-F471-78A441094C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80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 and im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BB1AFFF-5B96-4371-BCA2-F0CE04ECF7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1FED918-02AD-4AE8-80A2-5FBE2CA7CD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00631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A07340D-F35E-44B1-83E7-553D9B9F4A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45099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E39C743-124E-4ED1-8147-16B673DA19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89568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291567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2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8089" cy="686858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1DF8E2A-12B9-514A-5601-26281CD96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DC3EEF-6F5D-0A2B-8308-FBC44EFC96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06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3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8089" cy="686857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2E260B5-04DA-74E9-2CCE-DB4747E4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F39C0E-527F-64DC-3CA7-01E2B3AD5F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3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3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0"/>
            <a:ext cx="12198087" cy="686857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9E2AF20-EFF9-87B7-A893-F8F91105E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4F6EC8-8690-B52F-EC45-01BED7611A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5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Color set 3 - block comp 3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1EAA7-E008-E93B-ED99-565142AEC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0"/>
            <a:ext cx="12198087" cy="686857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F40BAA4-A2BA-39DA-190D-122341AB8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914401"/>
            <a:ext cx="6270170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AE83D0B3-0A2F-1E43-B858-5531B7606C20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6C0AD1-D436-AC3A-2D20-E18883BC49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1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6213DF-CEC6-4F46-9CD4-5ED4A416AF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78479-5E5D-4B94-9958-5C40D64BED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56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B406E-49D4-4042-B360-7083D5E4F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49830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65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391B74-659E-4EB1-8DB0-B962093F0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52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bullete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7DE2B-5658-4ECD-9AB5-497E1D05E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3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content layou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2CBB3C-A513-466E-B53F-E5E578126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33600"/>
            <a:ext cx="10972800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19C1A1-91E5-46D2-97FB-94E48C63B9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51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  <p15:guide id="2" orient="horz" pos="1128">
          <p15:clr>
            <a:srgbClr val="9FCC3B"/>
          </p15:clr>
        </p15:guide>
        <p15:guide id="3" orient="horz" pos="1344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bulleted conten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73DDF9C-7004-4F4E-8707-3F8553760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7034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981200"/>
            <a:ext cx="10972800" cy="4229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4270F7-2BCA-4119-8F34-BD17AB29E14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02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  <p15:guide id="2" orient="horz" pos="1128">
          <p15:clr>
            <a:srgbClr val="9FCC3B"/>
          </p15:clr>
        </p15:guide>
        <p15:guide id="3" orient="horz" pos="124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Four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our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47471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474719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3983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3984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70CBA4-9A7C-4AA6-80BD-DA7E39D565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4960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88FFD55-A15C-40BB-919A-289EBCA6F2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0496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F0D3C1B-0D24-4BCA-810C-31D050008A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56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5334000" cy="10858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content, and imag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71700"/>
            <a:ext cx="5334000" cy="4038599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3B2582F-3FE9-42AC-8572-5C27E1A8E5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8400" y="0"/>
            <a:ext cx="5943600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(or paste) to insert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C972F2-75D0-4C1D-B2C9-D4DDBBA7EBA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94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368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499"/>
            <a:ext cx="5248276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81369-2E97-4C0B-9762-D765E2837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00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34125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34125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2CB0EC-BB93-4417-89BD-8704180EA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47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05D547-F845-48C9-979D-DD2269BB9C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37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 and imag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1FED918-02AD-4AE8-80A2-5FBE2CA7CD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00631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A07340D-F35E-44B1-83E7-553D9B9F4A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45099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E39C743-124E-4ED1-8147-16B673DA19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89568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BB1AFFF-5B96-4371-BCA2-F0CE04ECF7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22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Four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our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47471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474719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3983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3984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70CBA4-9A7C-4AA6-80BD-DA7E39D565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4960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88FFD55-A15C-40BB-919A-289EBCA6F2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0496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F0D3C1B-0D24-4BCA-810C-31D050008A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35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C643E-9D53-435F-9BF5-216545CC1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 dirty="0"/>
              <a:t>Picture with caption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F8F45C-51B3-4A66-AF8A-1A15D125710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14501"/>
            <a:ext cx="5372101" cy="449579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0FD460-44A4-4368-BEE3-4B57384F2D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0300" y="1714501"/>
            <a:ext cx="5372100" cy="4495798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CB9B7-F1A6-4E7E-9A44-4A1BF91C8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49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5DE8161-89FB-4C0E-91DC-BB077E8FD5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7998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A55C8-9EB1-43B1-BF66-2D7F31D1B8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24431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</p:spTree>
    <p:extLst>
      <p:ext uri="{BB962C8B-B14F-4D97-AF65-F5344CB8AC3E}">
        <p14:creationId xmlns:p14="http://schemas.microsoft.com/office/powerpoint/2010/main" val="54242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170A126-58BA-41AC-92D7-A31F9CFA52FC}"/>
              </a:ext>
            </a:extLst>
          </p:cNvPr>
          <p:cNvSpPr/>
          <p:nvPr userDrawn="1"/>
        </p:nvSpPr>
        <p:spPr>
          <a:xfrm>
            <a:off x="0" y="1682496"/>
            <a:ext cx="12192000" cy="42428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0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55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C643E-9D53-435F-9BF5-216545CC1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 dirty="0"/>
              <a:t>Picture with caption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0FD460-44A4-4368-BEE3-4B57384F2D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0300" y="1714500"/>
            <a:ext cx="5372100" cy="4495799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F8F45C-51B3-4A66-AF8A-1A15D125710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14501"/>
            <a:ext cx="5372101" cy="44958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CB9B7-F1A6-4E7E-9A44-4A1BF91C8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61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9EF5C-832F-4F15-B95C-60157E7BD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3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subtitle layou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9D7037-6014-41C7-AAA4-041F7B6E51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0"/>
            <a:ext cx="5248274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598"/>
            <a:ext cx="5248276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6778C9A-1C98-4EC3-A992-895A3DF0E6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25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>
          <p15:clr>
            <a:srgbClr val="9FCC3B"/>
          </p15:clr>
        </p15:guide>
        <p15:guide id="3" orient="horz" pos="1128">
          <p15:clr>
            <a:srgbClr val="9FCC3B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,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, subtitle, bullets layou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8919E-8A8C-4C90-854E-20FDD2FCCD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1"/>
            <a:ext cx="5248274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600"/>
            <a:ext cx="5248276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F4E16D6-76D0-4B95-931F-9F32F34A84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95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>
          <p15:clr>
            <a:srgbClr val="9FCC3B"/>
          </p15:clr>
        </p15:guide>
        <p15:guide id="3" orient="horz" pos="1128">
          <p15:clr>
            <a:srgbClr val="9FCC3B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117ECE-DA96-4373-B8B2-4E847C5AC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1995221"/>
            <a:ext cx="8067261" cy="1900504"/>
          </a:xfrm>
        </p:spPr>
        <p:txBody>
          <a:bodyPr anchor="b" anchorCtr="0"/>
          <a:lstStyle>
            <a:lvl1pPr>
              <a:defRPr sz="4400"/>
            </a:lvl1pPr>
          </a:lstStyle>
          <a:p>
            <a:r>
              <a:rPr lang="en-US" dirty="0"/>
              <a:t>Enter quote here. Reposition quote mark graphics to frame the quot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C38951-92FB-41A4-A9D4-F3B7D3577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4127500"/>
            <a:ext cx="8067261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</a:lstStyle>
          <a:p>
            <a:pPr lvl="0"/>
            <a:r>
              <a:rPr lang="en-US" dirty="0"/>
              <a:t>Quoted person’s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36BC0-B224-4E6F-99AF-155A3657C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4496832"/>
            <a:ext cx="8067261" cy="313932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Quoted person’s affili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D867C9-C0CC-45E6-BDB6-5AAA8DF8A9C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0A0F065-DA19-4B02-B238-CFA9C89CB6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6" y="1981200"/>
            <a:ext cx="309563" cy="3095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EEFC34B7-722A-436B-9E34-41B9A285F1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35350" y="3274218"/>
            <a:ext cx="309563" cy="30956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690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48">
          <p15:clr>
            <a:srgbClr val="FBAE40"/>
          </p15:clr>
        </p15:guide>
        <p15:guide id="2" orient="horz" pos="2592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E379B83-A4CA-B759-C157-723809BBE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653DC5-2FA5-48AF-A9A7-D45B3AFBB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01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C6B4E2-487D-7BA5-6A5D-8D62F9D14B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653DC5-2FA5-48AF-A9A7-D45B3AFBB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7BD847E-1472-C52D-C8A4-327EA222F8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653DC5-2FA5-48AF-A9A7-D45B3AFBB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d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6C12C4-7B07-CDE0-8DA7-421A5A98AE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653DC5-2FA5-48AF-A9A7-D45B3AFBB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62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d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A089D9-A432-3B43-6713-28C2C3E21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653DC5-2FA5-48AF-A9A7-D45B3AFBBE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94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1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C249AE-E5ED-8BAD-6F16-B03132ACD7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6157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B8E8DCF-5EC0-7EFC-5E40-09658D498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CA8ECC-0565-1B81-D5AE-5216039132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97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5DE8161-89FB-4C0E-91DC-BB077E8FD5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7998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5609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1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90A827-8022-417E-EB28-60E63C7D46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B8E8DCF-5EC0-7EFC-5E40-09658D498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C0B5C9-3003-8484-EC53-B5A6CA87B1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6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1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9E7084-C292-40B3-5532-BADF8A63EA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B8E8DCF-5EC0-7EFC-5E40-09658D498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1059D0B-4F5E-6785-3D4C-D01992BC51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3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2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CF5BB1-F3F5-1A37-00A0-5AC635EF8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6157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32459D-2EC4-00EE-D648-EDF338889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C6E939-800D-9C22-F975-E790F8EE14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58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2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329CCD3-783E-5763-1BF1-D6D580F6C9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A0B6A4-3236-50A9-1136-CD5EBFE97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294AC0-2FA5-CFD2-262B-0DE614583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40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2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10E5AF7-C90B-83E3-DE31-C548F5A187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1038DA9-C717-B9D6-6AC2-A191CE8B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2E61C7-A1D3-968F-BBB2-84D9C247C8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61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3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1E1F25-3DF9-FBD3-3C57-9A17473C02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68615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B7DD1-166A-7CAD-1D4B-1F8921C43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A7115C-EAEE-3C79-3FB7-88893ED62C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23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3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9077284-676C-CE9A-D699-AB947A6B00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A24B03D-518C-CA9E-4807-D7AC20FB1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ADC184-A598-DC3B-9E53-164592375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55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block comp 3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2412F5-6B7A-D6E2-DF9E-F32327BB9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615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68D513-FFBD-0D5B-7C74-8FAC01B217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5638"/>
            <a:ext cx="4468780" cy="2086725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59189A9A-3407-1149-A0CD-28571AF57C0B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F76EE5-F406-C16E-4DDB-0416F61D17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0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D0067A-57D0-4381-810E-C5402D120F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2527" y="-12017"/>
            <a:ext cx="13094529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E3DDCF7-C965-E3DE-7CDE-9CE497FF4E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714500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1968814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AAE963-D892-4889-B766-593B2193B3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2530" y="-1"/>
            <a:ext cx="13094529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2862776-CCF9-5F95-075D-FCCE4F6B02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8078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16780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</p:spTree>
    <p:extLst>
      <p:ext uri="{BB962C8B-B14F-4D97-AF65-F5344CB8AC3E}">
        <p14:creationId xmlns:p14="http://schemas.microsoft.com/office/powerpoint/2010/main" val="176919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F97F6E-C6F9-4E14-973B-B69F93A12D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6" y="-12016"/>
            <a:ext cx="13094527" cy="68580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8F00E5C-D749-3297-07CF-8E3563AE60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8078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129595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9EB3EE-567A-4888-8FCA-6D623C9089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2527" y="-1"/>
            <a:ext cx="13094529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DB67B27-00AA-277D-D07B-8B1042A694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8078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202672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B46434D-903D-4063-BBB3-FA5CE02D58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6" y="-12017"/>
            <a:ext cx="13094529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A1A1D6B-D9DC-76AB-5CA0-50CEE7A3A4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714500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220176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300BB8-F47A-4B88-8ABF-C9BDF01762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6" y="-12017"/>
            <a:ext cx="13094529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F77215-2C37-B9D4-832F-37662FF73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714500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417311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361E2A-DAB3-4A9C-A1FB-7DEC934A52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5" y="-12017"/>
            <a:ext cx="13094527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F77215-2C37-B9D4-832F-37662FF73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8078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105705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AA505D-F620-4077-8772-AD79626E9A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5" y="-12017"/>
            <a:ext cx="13094527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F77215-2C37-B9D4-832F-37662FF73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714500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654529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3 - macro ic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A74307-2D95-B20E-C4FA-ABAE6B98E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59189A9A-3407-1149-A0CD-28571AF57C0B}" type="datetimeyyyy">
              <a:rPr lang="en-US" sz="600" smtClean="0"/>
              <a:t>2025</a:t>
            </a:fld>
            <a:r>
              <a:rPr lang="en-US" sz="600" dirty="0"/>
              <a:t>, Amazon Web Services, Inc. or its affiliates. All rights reserved. Amazon Confidential and Trademark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EB7C27F-3E0F-4FA2-933C-04AF6C05E0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04995" y="-12018"/>
            <a:ext cx="13094529" cy="68580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F77215-2C37-B9D4-832F-37662FF73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88078"/>
            <a:ext cx="4468780" cy="2081845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56505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Type or paste plain-text code here; or click icon to add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F51AD4-FDAE-4E07-B685-874180F10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63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d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BE49C-423E-451A-A0D2-7D73F2531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98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90820-803B-4C55-BA9E-AE3223753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256" y="3226552"/>
            <a:ext cx="6823869" cy="750238"/>
          </a:xfrm>
        </p:spPr>
        <p:txBody>
          <a:bodyPr/>
          <a:lstStyle>
            <a:lvl1pPr>
              <a:defRPr sz="2800" b="1">
                <a:latin typeface="+mn-lt"/>
              </a:defRPr>
            </a:lvl1pPr>
          </a:lstStyle>
          <a:p>
            <a:r>
              <a:rPr lang="en-US" dirty="0"/>
              <a:t>Enter sub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B99A66-7F1A-495E-B008-D2DB34B05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F7951E-E6AB-4553-9142-A91D5BC58C21}"/>
              </a:ext>
            </a:extLst>
          </p:cNvPr>
          <p:cNvSpPr txBox="1"/>
          <p:nvPr userDrawn="1"/>
        </p:nvSpPr>
        <p:spPr>
          <a:xfrm>
            <a:off x="609599" y="2428875"/>
            <a:ext cx="6867525" cy="955666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2"/>
                </a:solidFill>
                <a:latin typeface="+mj-lt"/>
              </a:rPr>
              <a:t>Q&amp;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C6FF82B-B4E0-4C97-87F3-C1C0B8837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91CB6-D820-4A96-8204-600D7D956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 layou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750401-572B-4B45-BF07-5D528B05F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3000"/>
              </a:spcAft>
              <a:buNone/>
              <a:defRPr sz="2400"/>
            </a:lvl1pPr>
            <a:lvl2pPr marL="0" indent="0">
              <a:spcAft>
                <a:spcPts val="3000"/>
              </a:spcAft>
              <a:buNone/>
              <a:defRPr sz="2400"/>
            </a:lvl2pPr>
            <a:lvl3pPr marL="0" indent="0">
              <a:spcAft>
                <a:spcPts val="3000"/>
              </a:spcAft>
              <a:buNone/>
              <a:defRPr sz="2400"/>
            </a:lvl3pPr>
            <a:lvl4pPr marL="0" indent="0">
              <a:spcAft>
                <a:spcPts val="3000"/>
              </a:spcAft>
              <a:buNone/>
              <a:defRPr sz="2400"/>
            </a:lvl4pPr>
            <a:lvl5pPr marL="0" indent="0">
              <a:spcAft>
                <a:spcPts val="3000"/>
              </a:spcAft>
              <a:buNone/>
              <a:defRPr sz="2400"/>
            </a:lvl5pPr>
          </a:lstStyle>
          <a:p>
            <a:pPr lvl="0"/>
            <a:r>
              <a:rPr lang="en-US" dirty="0"/>
              <a:t>Enter high-level agenda item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4C0F27-F073-46C5-99AA-D6BC67A40F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98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B11844-EDC2-4BBC-9655-791EDDE7A288}"/>
              </a:ext>
            </a:extLst>
          </p:cNvPr>
          <p:cNvSpPr/>
          <p:nvPr userDrawn="1"/>
        </p:nvSpPr>
        <p:spPr>
          <a:xfrm>
            <a:off x="0" y="1682496"/>
            <a:ext cx="12192000" cy="42428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</p:spTree>
    <p:extLst>
      <p:ext uri="{BB962C8B-B14F-4D97-AF65-F5344CB8AC3E}">
        <p14:creationId xmlns:p14="http://schemas.microsoft.com/office/powerpoint/2010/main" val="60720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Dem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73436"/>
            <a:ext cx="7823200" cy="1311128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 dirty="0"/>
              <a:t>Video or demo divider: Enter “Video” or “Demo” here</a:t>
            </a:r>
          </a:p>
        </p:txBody>
      </p:sp>
    </p:spTree>
    <p:extLst>
      <p:ext uri="{BB962C8B-B14F-4D97-AF65-F5344CB8AC3E}">
        <p14:creationId xmlns:p14="http://schemas.microsoft.com/office/powerpoint/2010/main" val="372898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C300D94-E16B-4268-9D8D-053D71D5DC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6100FBD5-D226-4B79-8009-A3AA42458FC8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548640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5D0BE8-3DF9-42ED-B529-6742E64DF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34999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</p:spTree>
    <p:extLst>
      <p:ext uri="{BB962C8B-B14F-4D97-AF65-F5344CB8AC3E}">
        <p14:creationId xmlns:p14="http://schemas.microsoft.com/office/powerpoint/2010/main" val="128254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1A51E-0F08-4B7B-9A9F-00CF3AA310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10972800" cy="535531"/>
          </a:xfrm>
        </p:spPr>
        <p:txBody>
          <a:bodyPr anchor="t" anchorCtr="0"/>
          <a:lstStyle>
            <a:lvl1pPr>
              <a:defRPr sz="4000"/>
            </a:lvl1pPr>
          </a:lstStyle>
          <a:p>
            <a:r>
              <a:rPr lang="en-US" dirty="0"/>
              <a:t>Content with caption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C0C8A-CCAE-4B98-91F0-838AA4F55C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25611"/>
            <a:ext cx="5372101" cy="448468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6EECF-7227-4AD4-BC6B-F6715716A8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10300" y="1714501"/>
            <a:ext cx="5372100" cy="4484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21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6AD9CB31-EEEF-4014-8284-24B508CB1E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951097-E924-8CDB-E302-F7D77E352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FCBFA3-322F-7B6A-F516-A7DD9532696E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9305E1C-00C6-7741-A376-0D18F41A32E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0CABA7B-38C4-4AE3-95DC-13D4A0BD74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25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09E5A8B5-335F-4499-A867-2220D21A83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ECA5295-52B4-DA4A-3B3B-7145856F77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C76207-9E50-78C1-BF5E-D3F3C6B3C0DD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9305E1C-00C6-7741-A376-0D18F41A32E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A4E4F5E-6DCE-4195-B6D4-D2FCD63A29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16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C0056DCF-66C0-41BE-8188-5749FE9DC1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EB9838-709C-D532-7ACE-84A87321ED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8B6BFB-7F02-F0E7-06CC-C173D74A7F3D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9305E1C-00C6-7741-A376-0D18F41A32E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A75C44A-13E1-48A0-BE0E-0EA6267277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98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d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9D6EE278-70BF-4DF0-A320-B03946E1B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5FB853-8D14-6B48-43F0-CC75308D5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3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290AC1-E327-1BD8-6026-B477B3ED022A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9305E1C-00C6-7741-A376-0D18F41A32E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B5639C5-0223-4D7C-8AE7-9D6EF83AC5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7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d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E939C6C-E22D-4BEB-9860-241625208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DB16C7-6632-86D8-EFD9-B008820E0D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0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756B20-D28A-BCD3-0A6D-4E000864B585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9305E1C-00C6-7741-A376-0D18F41A32E6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B018AC-177F-4749-AD69-5D74C8B2B4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9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1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8172434-260A-49BF-87AC-79A63C6C4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08938C3-3618-BDC8-E65D-56862F92A0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" y="0"/>
            <a:ext cx="12185645" cy="68615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1C0A044-F552-45C8-A3F0-5C04E25C3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7D13DE0-1972-190E-69BD-4DE5DBFD0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5D465C9-F221-15C3-3972-F9F1B2CAB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3FFA27A-72ED-9081-0EBB-7DF9A8AF9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082B78-196E-45A4-8003-F33C13B083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1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050E006-B8BE-41D1-8AEE-FF2E8D676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113998-AB79-8EE1-EA4C-0BD2BD229F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" y="0"/>
            <a:ext cx="12185643" cy="68615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D414F98-6E22-B50E-D8B0-A55F9BF7B7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D2F758A-9EA7-38FB-3C81-8514C67B85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3AF3444-C7E8-876C-3522-F1AA2B9B67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DA3F794-5319-FF1F-6564-4BA2B23117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E83BB25-9E9E-4B37-870E-19D4EA8940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26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9EF5C-832F-4F15-B95C-60157E7BD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03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1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87C50C4-8723-48DC-9E9D-D8C869E90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6CBEC4-568F-B29A-2D95-719AF8F2C0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" y="0"/>
            <a:ext cx="12185643" cy="686157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6E87E64-CF10-7061-B9E3-8CEF0741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CC64556-D1E8-5C8B-F7EC-F1B41E6396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6BBF6AB-321C-5E75-2DF6-35B71E6181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F34B1BF-007E-E350-34CE-1D3418C6D3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0F8C9-C663-46E8-AB0D-D8F2FB53CF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15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2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85D3AA5-9C5B-4479-B6C8-03408A5E6C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7D374-7649-3949-2559-62CBAFB1E5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4" y="0"/>
            <a:ext cx="12185641" cy="686157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06281238-F01D-5752-21B1-3F14FF993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1EBD3DE-6235-2A64-3D20-D9A197C97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5CF1C0A-A62D-2AC2-BEB9-E5369CFE1A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DC71126-2833-5810-EFE8-31EB88D1E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4F56A4-934E-4750-8D24-CA93A036E6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2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4C912AC-4199-428B-92D3-03BA311F6F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427A183-AA2F-3AAC-80C8-B6B57DBA3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4" y="0"/>
            <a:ext cx="12185641" cy="686157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A0BC348-319B-9CE7-35DF-89B076D79C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C58AE2D3-E0B2-596A-5774-77F5E4BE26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D7214E7-926F-CF45-7067-7885CA7F4C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7386B97-D918-6426-BA80-636302F32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68D4CE-2B64-49E4-AA5A-044732EFDC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87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2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64E1487-7A9B-4CCE-B0A9-8D67FD57A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3A28AD-413C-3139-4889-ED77E618F5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4" y="0"/>
            <a:ext cx="12185640" cy="686157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0EE3051-C025-4271-9B4B-30EC11D7DD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BDBF4E6-2D4A-078E-08E6-2C9FF258E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73E40C2-9916-4479-095D-8B04916FCD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8D13370-97DD-E852-A320-8843CB4D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DA2C872-7515-4460-A5AC-C8CA35F491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87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3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DA1DC2A-38BD-4764-9BA2-EE35A154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0D89C87-20C6-3297-9911-E5FE91BBE8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4" y="0"/>
            <a:ext cx="12185640" cy="686156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E038D9F-51DB-ED2B-02D4-F348DD2B83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9C010D9-FA09-E399-D8AD-5B008ED24F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AF17751-124F-8225-9BBF-0A266B9892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30FA8B2-C708-F6B1-4C67-3D07E00586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FD32CD-941B-46BB-B40A-FF05E8CF11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13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3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2A52DA6-EB40-4ECE-89AB-6E2C932841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0C7F6A-CF54-577A-07A4-1E9D4672FA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0"/>
            <a:ext cx="12185638" cy="686156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C776BE7-3154-D78B-E828-515E837704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1A52FD4E-B7FA-21C9-3F94-49C493276A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C4DA993-1849-7FF2-F1C6-F7E657E6B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5780FB3-3CDF-4FBB-FBB4-FD4B0170F8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796322-8C15-426E-B942-05DF0B6B68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6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3 - block comp 3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FE4821-FA02-490F-812C-456D70F442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8BE8C4-6114-A044-05D5-6D32220082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5" y="0"/>
            <a:ext cx="12185638" cy="686156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6C037CB-C254-86D8-8E4F-8FCE47171E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6F7F293-C4B3-A6F9-3956-7875EBAD0C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9FC4185-5C3F-7D58-7F00-A2349D0E0A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DE70B9F-8D46-5BE4-B487-35ACF9F368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C4B8EB-2893-462E-B7EF-EF91E0CF37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4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FA33D-5535-4C9A-8FE3-B37ABA63B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93D77A-024C-472F-B312-4E06A5BAE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718982"/>
            <a:ext cx="10972800" cy="44913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0D4DAD-D906-4444-864A-7CED33CE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74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F2CA4B-F100-498A-9F95-D1048E98B3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914399"/>
            <a:ext cx="2857500" cy="52959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442DEB-18AA-41C3-A034-B81C200697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914399"/>
            <a:ext cx="7962900" cy="52959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A1474-147C-4D4E-B55D-24F747B20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52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A4731D4-24B7-407D-A119-09109E0E0D80}"/>
              </a:ext>
            </a:extLst>
          </p:cNvPr>
          <p:cNvSpPr txBox="1"/>
          <p:nvPr userDrawn="1"/>
        </p:nvSpPr>
        <p:spPr>
          <a:xfrm>
            <a:off x="3486150" y="2512370"/>
            <a:ext cx="7353300" cy="1874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000" dirty="0">
                <a:latin typeface="+mj-lt"/>
              </a:rPr>
              <a:t>Do not use layouts after this slide.</a:t>
            </a:r>
            <a:br>
              <a:rPr lang="en-US" sz="6000" dirty="0">
                <a:latin typeface="+mj-lt"/>
              </a:rPr>
            </a:br>
            <a:r>
              <a:rPr lang="en-US" sz="2000" dirty="0">
                <a:latin typeface="+mj-lt"/>
              </a:rPr>
              <a:t>They are not part of the official template.</a:t>
            </a:r>
            <a:endParaRPr lang="en-US" sz="6000" dirty="0">
              <a:latin typeface="+mj-lt"/>
            </a:endParaRPr>
          </a:p>
        </p:txBody>
      </p:sp>
      <p:pic>
        <p:nvPicPr>
          <p:cNvPr id="7" name="Graphic 6" descr="Stop sign">
            <a:extLst>
              <a:ext uri="{FF2B5EF4-FFF2-40B4-BE49-F238E27FC236}">
                <a16:creationId xmlns:a16="http://schemas.microsoft.com/office/drawing/2014/main" id="{2E1D490C-0B7A-44B5-A2CC-975048311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6A91D7-A142-41A9-9775-90FA8A0EC8F4}"/>
              </a:ext>
            </a:extLst>
          </p:cNvPr>
          <p:cNvSpPr/>
          <p:nvPr userDrawn="1"/>
        </p:nvSpPr>
        <p:spPr>
          <a:xfrm>
            <a:off x="380999" y="6337300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A252AA-410C-4410-AE45-9D483892FCD8}"/>
              </a:ext>
            </a:extLst>
          </p:cNvPr>
          <p:cNvSpPr/>
          <p:nvPr userDrawn="1"/>
        </p:nvSpPr>
        <p:spPr>
          <a:xfrm>
            <a:off x="380999" y="163722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16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subtitl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0"/>
            <a:ext cx="5248274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598"/>
            <a:ext cx="5248276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9D7037-6014-41C7-AAA4-041F7B6E51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6778C9A-1C98-4EC3-A992-895A3DF0E6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31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>
          <p15:clr>
            <a:srgbClr val="9FCC3B"/>
          </p15:clr>
        </p15:guide>
        <p15:guide id="3" orient="horz" pos="1128">
          <p15:clr>
            <a:srgbClr val="9FCC3B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Color set 2 - d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C4DAC1-56C3-D5F9-4EF7-5B75A36A62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98096" cy="68685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891D98CA-91DB-C845-88C4-F4C26858D263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3D26A0-7996-9C19-5ADA-2E1B208138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5295" y="6338017"/>
            <a:ext cx="365760" cy="21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08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_Image_Cent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153248"/>
            <a:ext cx="11258550" cy="727655"/>
          </a:xfrm>
        </p:spPr>
        <p:txBody>
          <a:bodyPr>
            <a:normAutofit/>
          </a:bodyPr>
          <a:lstStyle>
            <a:lvl1pPr>
              <a:defRPr sz="3167" b="1" i="0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8145AC-79A9-834A-BE03-ED99E1BFF7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11262360" cy="44484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9431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49085C-9998-48E4-B9DB-FE1308922D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49085C-9998-48E4-B9DB-FE1308922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rmAutofit/>
          </a:bodyPr>
          <a:lstStyle>
            <a:lvl1pPr>
              <a:lnSpc>
                <a:spcPct val="100000"/>
              </a:lnSpc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56B688-2305-4BE7-B3F4-9002EC6B1D19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917792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03_No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B3E3A96-7F42-4465-BDB4-9CE31110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2440"/>
            <a:ext cx="10972800" cy="548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5298A77A-52E5-48A7-8EEC-00B645B187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7810" y="6489523"/>
            <a:ext cx="671433" cy="128177"/>
          </a:xfrm>
          <a:prstGeom prst="rect">
            <a:avLst/>
          </a:prstGeom>
        </p:spPr>
        <p:txBody>
          <a:bodyPr anchor="ctr" anchorCtr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4B8DE2-A4E8-46E4-8BBF-D75455EFF32C}" type="slidenum">
              <a:rPr kumimoji="0" lang="en-US" sz="83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79109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,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, subtitle,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1"/>
            <a:ext cx="5248274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600"/>
            <a:ext cx="5248276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8919E-8A8C-4C90-854E-20FDD2FCCD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F4E16D6-76D0-4B95-931F-9F32F34A84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78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>
          <p15:clr>
            <a:srgbClr val="9FCC3B"/>
          </p15:clr>
        </p15:guide>
        <p15:guide id="3" orient="horz" pos="1128">
          <p15:clr>
            <a:srgbClr val="9FCC3B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117ECE-DA96-4373-B8B2-4E847C5AC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1995221"/>
            <a:ext cx="8067261" cy="1900504"/>
          </a:xfrm>
        </p:spPr>
        <p:txBody>
          <a:bodyPr anchor="b" anchorCtr="0"/>
          <a:lstStyle>
            <a:lvl1pPr>
              <a:defRPr sz="4400"/>
            </a:lvl1pPr>
          </a:lstStyle>
          <a:p>
            <a:r>
              <a:rPr lang="en-US" dirty="0"/>
              <a:t>Enter quote here. Reposition quote mark graphics to frame the quote.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2AB32ED6-534B-4417-86C2-7D43CBC56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6" y="1981200"/>
            <a:ext cx="309563" cy="3095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DE8EBE-FC95-451D-BADD-B5580296FA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64150" y="3274218"/>
            <a:ext cx="309563" cy="30956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C38951-92FB-41A4-A9D4-F3B7D3577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4127500"/>
            <a:ext cx="8067261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</a:lstStyle>
          <a:p>
            <a:pPr lvl="0"/>
            <a:r>
              <a:rPr lang="en-US" dirty="0"/>
              <a:t>Quoted person’s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36BC0-B224-4E6F-99AF-155A3657C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4496832"/>
            <a:ext cx="8067261" cy="313932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Quoted person’s affili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D867C9-C0CC-45E6-BDB6-5AAA8DF8A9C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77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48">
          <p15:clr>
            <a:srgbClr val="FBAE40"/>
          </p15:clr>
        </p15:guide>
        <p15:guide id="2" orient="horz" pos="25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2-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2896AE-5B1A-83FF-59C2-B8180BA2BE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19880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4AA80B2A-FD76-C344-9CBC-705DCB26468E}" type="datetimeyyyy">
              <a:rPr lang="en-US" sz="600" smtClean="0"/>
              <a:t>2025</a:t>
            </a:fld>
            <a:r>
              <a:rPr lang="en-US" sz="600" dirty="0"/>
              <a:t>, Amazon Web Services, Inc. or its affiliates. 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1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lor set 2 -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409D9A-EA48-E67D-14C6-40BE7EB732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" y="0"/>
            <a:ext cx="12185650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19880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4AA80B2A-FD76-C344-9CBC-705DCB26468E}" type="datetimeyyyy">
              <a:rPr lang="en-US" sz="600" smtClean="0"/>
              <a:t>2025</a:t>
            </a:fld>
            <a:r>
              <a:rPr lang="en-US" sz="600" dirty="0"/>
              <a:t>, Amazon Web Services, Inc. or its affiliates. 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50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Type or paste plain-text code here; or click icon to add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F51AD4-FDAE-4E07-B685-874180F10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23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d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BE49C-423E-451A-A0D2-7D73F2531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70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90820-803B-4C55-BA9E-AE3223753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256" y="3226552"/>
            <a:ext cx="6823869" cy="750238"/>
          </a:xfrm>
        </p:spPr>
        <p:txBody>
          <a:bodyPr/>
          <a:lstStyle>
            <a:lvl1pPr>
              <a:defRPr sz="2800" b="1">
                <a:latin typeface="+mn-lt"/>
              </a:defRPr>
            </a:lvl1pPr>
          </a:lstStyle>
          <a:p>
            <a:r>
              <a:rPr lang="en-US" dirty="0"/>
              <a:t>Enter sub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B99A66-7F1A-495E-B008-D2DB34B05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F7951E-E6AB-4553-9142-A91D5BC58C21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latin typeface="+mj-lt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22367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907AE9-2A8E-446F-AC5C-E522F1C0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75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Dem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73436"/>
            <a:ext cx="7823200" cy="1311128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 dirty="0"/>
              <a:t>Video or demo divider: Enter “Video” or “Demo” here</a:t>
            </a:r>
          </a:p>
        </p:txBody>
      </p:sp>
    </p:spTree>
    <p:extLst>
      <p:ext uri="{BB962C8B-B14F-4D97-AF65-F5344CB8AC3E}">
        <p14:creationId xmlns:p14="http://schemas.microsoft.com/office/powerpoint/2010/main" val="1601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C300D94-E16B-4268-9D8D-053D71D5DC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6100FBD5-D226-4B79-8009-A3AA42458FC8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548640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35000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1A51E-0F08-4B7B-9A9F-00CF3AA310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10972800" cy="535531"/>
          </a:xfrm>
        </p:spPr>
        <p:txBody>
          <a:bodyPr anchor="t" anchorCtr="0"/>
          <a:lstStyle>
            <a:lvl1pPr>
              <a:defRPr sz="4000"/>
            </a:lvl1pPr>
          </a:lstStyle>
          <a:p>
            <a:r>
              <a:rPr lang="en-US" dirty="0"/>
              <a:t>Content with captio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6EECF-7227-4AD4-BC6B-F6715716A8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10300" y="1714501"/>
            <a:ext cx="5372100" cy="4484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C0C8A-CCAE-4B98-91F0-838AA4F55C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25611"/>
            <a:ext cx="5372101" cy="448468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</p:spTree>
    <p:extLst>
      <p:ext uri="{BB962C8B-B14F-4D97-AF65-F5344CB8AC3E}">
        <p14:creationId xmlns:p14="http://schemas.microsoft.com/office/powerpoint/2010/main" val="416619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lor set 2 -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7A3443-4A57-D0C8-F58F-E4F70D7D4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E488766-D546-4AE2-8DD5-211B4D6982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28911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8911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8699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19880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69AD1207-FAFC-7443-B31E-99D1255B843A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64698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FA33D-5535-4C9A-8FE3-B37ABA63B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93D77A-024C-472F-B312-4E06A5BAE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718982"/>
            <a:ext cx="10972800" cy="44913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0D4DAD-D906-4444-864A-7CED33CE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39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F2CA4B-F100-498A-9F95-D1048E98B3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914399"/>
            <a:ext cx="2857500" cy="52959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442DEB-18AA-41C3-A034-B81C200697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914399"/>
            <a:ext cx="7962900" cy="52959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A1474-147C-4D4E-B55D-24F747B20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20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A4731D4-24B7-407D-A119-09109E0E0D80}"/>
              </a:ext>
            </a:extLst>
          </p:cNvPr>
          <p:cNvSpPr txBox="1"/>
          <p:nvPr userDrawn="1"/>
        </p:nvSpPr>
        <p:spPr>
          <a:xfrm>
            <a:off x="3486150" y="2512370"/>
            <a:ext cx="7353300" cy="1874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000" dirty="0">
                <a:latin typeface="+mj-lt"/>
              </a:rPr>
              <a:t>Do not use layouts after this slide.</a:t>
            </a:r>
            <a:br>
              <a:rPr lang="en-US" sz="6000" dirty="0">
                <a:latin typeface="+mj-lt"/>
              </a:rPr>
            </a:br>
            <a:r>
              <a:rPr lang="en-US" sz="2000" dirty="0">
                <a:latin typeface="+mj-lt"/>
              </a:rPr>
              <a:t>They are not part of the official template.</a:t>
            </a:r>
            <a:endParaRPr lang="en-US" sz="6000" dirty="0">
              <a:latin typeface="+mj-lt"/>
            </a:endParaRPr>
          </a:p>
        </p:txBody>
      </p:sp>
      <p:pic>
        <p:nvPicPr>
          <p:cNvPr id="7" name="Graphic 6" descr="Stop sign">
            <a:extLst>
              <a:ext uri="{FF2B5EF4-FFF2-40B4-BE49-F238E27FC236}">
                <a16:creationId xmlns:a16="http://schemas.microsoft.com/office/drawing/2014/main" id="{2E1D490C-0B7A-44B5-A2CC-975048311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6A91D7-A142-41A9-9775-90FA8A0EC8F4}"/>
              </a:ext>
            </a:extLst>
          </p:cNvPr>
          <p:cNvSpPr/>
          <p:nvPr userDrawn="1"/>
        </p:nvSpPr>
        <p:spPr>
          <a:xfrm>
            <a:off x="380999" y="6337300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A252AA-410C-4410-AE45-9D483892FCD8}"/>
              </a:ext>
            </a:extLst>
          </p:cNvPr>
          <p:cNvSpPr/>
          <p:nvPr userDrawn="1"/>
        </p:nvSpPr>
        <p:spPr>
          <a:xfrm>
            <a:off x="380999" y="163722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06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Color set 3 - d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590155-1147-789F-69B9-AA801C911F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61574"/>
          </a:xfrm>
          <a:prstGeom prst="rect">
            <a:avLst/>
          </a:prstGeom>
        </p:spPr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198CE74-81AB-EE4D-8D00-270FFD0D82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9418"/>
            <a:ext cx="6477002" cy="361335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900" b="1" i="0" cap="all" spc="300" baseline="0">
                <a:solidFill>
                  <a:srgbClr val="9FFCEA"/>
                </a:solidFill>
                <a:latin typeface="Amazon Ember Mono" panose="020B0709020204020204" pitchFamily="49" charset="0"/>
                <a:ea typeface="Amazon Ember Mono" panose="020B0709020204020204" pitchFamily="49" charset="0"/>
                <a:cs typeface="Amazon Ember Mono" panose="020B0709020204020204" pitchFamily="49" charset="0"/>
              </a:defRPr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5C4798-7956-C74D-8691-753278F1C7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126159"/>
            <a:ext cx="6460999" cy="757130"/>
          </a:xfrm>
        </p:spPr>
        <p:txBody>
          <a:bodyPr wrap="square" anchor="t" anchorCtr="0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94A03954-750D-4040-9BE9-D81EAD6F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906719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66433-9A66-4563-5F56-A9FEE74781A0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E59B6FD5-3D56-C643-A5C0-5E9DC034BBB5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E1EC9A-CBEE-43CF-AF49-BEF09D1419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73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- Color set 3 - block comp 1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87C50C4-8723-48DC-9E9D-D8C869E90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19677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6CBEC4-568F-B29A-2D95-719AF8F2C0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" y="0"/>
            <a:ext cx="12185643" cy="686157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</a:rPr>
              <a:t>© </a:t>
            </a:r>
            <a:fld id="{C6CAA194-B35A-414F-9ABD-F93CA819E552}" type="datetimeyyyy">
              <a:rPr lang="en-US" sz="600" smtClean="0">
                <a:solidFill>
                  <a:schemeClr val="tx1"/>
                </a:solidFill>
              </a:rPr>
              <a:t>2025</a:t>
            </a:fld>
            <a:r>
              <a:rPr lang="en-US" sz="600" dirty="0">
                <a:solidFill>
                  <a:schemeClr val="tx1"/>
                </a:solidFill>
              </a:rPr>
              <a:t>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b="1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6E87E64-CF10-7061-B9E3-8CEF0741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CC64556-D1E8-5C8B-F7EC-F1B41E6396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6BBF6AB-321C-5E75-2DF6-35B71E6181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4625" y="3621643"/>
            <a:ext cx="1994088" cy="369332"/>
          </a:xfrm>
        </p:spPr>
        <p:txBody>
          <a:bodyPr anchor="b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F34B1BF-007E-E350-34CE-1D3418C6D3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14625" y="3990975"/>
            <a:ext cx="1994088" cy="53553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0F8C9-C663-46E8-AB0D-D8F2FB53CF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41" y="525943"/>
            <a:ext cx="3625882" cy="67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2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5B96BE-BEFA-47C5-B5F6-07D5B53EF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60400"/>
            <a:ext cx="121920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Walk-in layou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BBD02E-5C7A-AF8E-941D-755854662C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5713" y="1421654"/>
            <a:ext cx="4000574" cy="373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286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376">
          <p15:clr>
            <a:srgbClr val="FBAE40"/>
          </p15:clr>
        </p15:guide>
        <p15:guide id="4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Color set 2 - gradi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EF3141-EF46-A7A3-ACF3-1B23E6243C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" y="0"/>
            <a:ext cx="12185647" cy="68615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198804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E2C94B47-59BA-C04E-8479-C5ED6C456019}" type="datetimeyyyy">
              <a:rPr lang="en-US" sz="600" smtClean="0"/>
              <a:t>2025</a:t>
            </a:fld>
            <a:r>
              <a:rPr lang="en-US" sz="600" dirty="0"/>
              <a:t>, Amazon Web Services, Inc. or its affiliates. 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1CAE95-5DCF-4586-87BE-3A8F905DE3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78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/>
              <a:t>Enter sess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6" y="4692846"/>
            <a:ext cx="370232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6" y="5066908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4287725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Two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/>
              <a:t>Enter sess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6" y="4692846"/>
            <a:ext cx="370232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6" y="5066907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69ABB5-4D60-42A3-815E-56E31E1F1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56766" y="4692846"/>
            <a:ext cx="3702329" cy="369332"/>
          </a:xfrm>
        </p:spPr>
        <p:txBody>
          <a:bodyPr/>
          <a:lstStyle>
            <a:lvl1pPr marL="0" indent="0">
              <a:buNone/>
              <a:defRPr sz="2000"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AE8770-95C8-4BFC-8D8E-818B753038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6766" y="5066907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35329959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216">
          <p15:clr>
            <a:srgbClr val="FBAE40"/>
          </p15:clr>
        </p15:guide>
        <p15:guide id="4" orient="horz" pos="295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Three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/>
              <a:t>Enter sess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7" y="4692846"/>
            <a:ext cx="266136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7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69ABB5-4D60-42A3-815E-56E31E1F1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29724" y="4692846"/>
            <a:ext cx="2661369" cy="369332"/>
          </a:xfrm>
        </p:spPr>
        <p:txBody>
          <a:bodyPr/>
          <a:lstStyle>
            <a:lvl1pPr marL="0" indent="0">
              <a:buNone/>
              <a:defRPr sz="2000"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8773FF-A575-4D5D-AC30-DAFFB441F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6531" y="4692846"/>
            <a:ext cx="2661369" cy="36933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8B14D59-1495-4288-ACD8-22C48054FD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724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ACBDE7C4-64AF-4CA5-A203-DC58B71673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6531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(pronouns)</a:t>
            </a:r>
            <a:br>
              <a:rPr lang="en-US"/>
            </a:br>
            <a:r>
              <a:rPr lang="en-US"/>
              <a:t>Job title</a:t>
            </a:r>
            <a:br>
              <a:rPr lang="en-US"/>
            </a:br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42568302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216">
          <p15:clr>
            <a:srgbClr val="FBAE40"/>
          </p15:clr>
        </p15:guide>
        <p15:guide id="4" orient="horz" pos="295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E09F29F-FB70-4479-9632-85DE314617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485900"/>
            <a:ext cx="11582400" cy="3570208"/>
          </a:xfrm>
        </p:spPr>
        <p:txBody>
          <a:bodyPr vert="horz" lIns="0" tIns="45720" rIns="0" bIns="45720" rtlCol="0">
            <a:spAutoFit/>
          </a:bodyPr>
          <a:lstStyle>
            <a:lvl1pPr marL="0" indent="0">
              <a:spcAft>
                <a:spcPts val="3000"/>
              </a:spcAft>
              <a:buNone/>
              <a:defRPr lang="en-US" smtClean="0"/>
            </a:lvl1pPr>
            <a:lvl2pPr marL="0" indent="0">
              <a:spcAft>
                <a:spcPts val="3000"/>
              </a:spcAft>
              <a:buNone/>
              <a:defRPr lang="en-US" sz="2800" smtClean="0"/>
            </a:lvl2pPr>
            <a:lvl3pPr marL="0" indent="0">
              <a:spcAft>
                <a:spcPts val="3000"/>
              </a:spcAft>
              <a:buNone/>
              <a:defRPr lang="en-US" sz="2800" smtClean="0"/>
            </a:lvl3pPr>
            <a:lvl4pPr marL="0" indent="0">
              <a:spcAft>
                <a:spcPts val="3000"/>
              </a:spcAft>
              <a:buNone/>
              <a:defRPr lang="en-US" sz="2800" smtClean="0"/>
            </a:lvl4pPr>
            <a:lvl5pPr marL="0" indent="0">
              <a:spcAft>
                <a:spcPts val="3000"/>
              </a:spcAft>
              <a:buNone/>
              <a:defRPr lang="en-US" sz="2800"/>
            </a:lvl5pPr>
          </a:lstStyle>
          <a:p>
            <a:pPr marL="228600" lvl="0" indent="-228600">
              <a:spcAft>
                <a:spcPts val="3000"/>
              </a:spcAft>
              <a:buClr>
                <a:schemeClr val="tx1"/>
              </a:buClr>
            </a:pPr>
            <a:r>
              <a:rPr lang="en-US"/>
              <a:t>Enter agenda items</a:t>
            </a:r>
          </a:p>
          <a:p>
            <a:pPr marL="457200" lvl="1" indent="-457200">
              <a:spcAft>
                <a:spcPts val="3000"/>
              </a:spcAft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457200">
              <a:spcAft>
                <a:spcPts val="3000"/>
              </a:spcAft>
              <a:buClr>
                <a:schemeClr val="tx1"/>
              </a:buClr>
            </a:pPr>
            <a:r>
              <a:rPr lang="en-US"/>
              <a:t>Third level</a:t>
            </a:r>
          </a:p>
          <a:p>
            <a:pPr marL="457200" lvl="3" indent="-457200">
              <a:spcAft>
                <a:spcPts val="3000"/>
              </a:spcAft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457200" lvl="4" indent="-457200">
              <a:spcAft>
                <a:spcPts val="3000"/>
              </a:spcAft>
              <a:buClr>
                <a:schemeClr val="tx1"/>
              </a:buClr>
            </a:pPr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75166B-DC8C-4D02-820A-E0D358716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layou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17BE0C-4360-472C-AB96-C971BF93533C}"/>
              </a:ext>
            </a:extLst>
          </p:cNvPr>
          <p:cNvSpPr/>
          <p:nvPr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7000">
                <a:srgbClr val="E1381E"/>
              </a:gs>
              <a:gs pos="34000">
                <a:srgbClr val="B20F87"/>
              </a:gs>
              <a:gs pos="70000">
                <a:srgbClr val="5600C2"/>
              </a:gs>
              <a:gs pos="51000">
                <a:srgbClr val="7A14A1"/>
              </a:gs>
              <a:gs pos="86000">
                <a:srgbClr val="3F1EE9"/>
              </a:gs>
              <a:gs pos="100000">
                <a:srgbClr val="0F65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11F71B-BE44-401B-AFFD-E75E3E6B7E60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98188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32CF9D-CDCB-9A3C-8F6A-047220EB478E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82362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 with a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D4A597-34C8-08BC-51F7-7CDDC1BB6D93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43133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67C6E4-FA0F-7172-5CB1-836B952CACB5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4665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216">
          <p15:clr>
            <a:srgbClr val="FBAE40"/>
          </p15:clr>
        </p15:guide>
        <p15:guide id="4" orient="horz" pos="62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F73FA-018C-42B4-99E2-A1521E83A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47700"/>
            <a:ext cx="119253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Blank layout (enter descriptive title here for accessibility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1C3ED5-4556-332C-74D6-BF2D9615FB71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77681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F9B2D-B36B-40AC-9254-12739BCD5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FFD8E-0DC3-4B8E-8C49-6A0F23E3D239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7109C-1394-B09E-928F-6EB147C4445B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68080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DEF8F-3F3F-4176-AAC6-6F214D9A9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56388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content, imag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4F48D58-FFF9-4D88-86EA-5381B3B43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insert image, </a:t>
            </a:r>
            <a:br>
              <a:rPr lang="en-US" dirty="0"/>
            </a:br>
            <a:r>
              <a:rPr lang="en-US" dirty="0"/>
              <a:t>or select placeholder </a:t>
            </a:r>
            <a:br>
              <a:rPr lang="en-US" dirty="0"/>
            </a:br>
            <a:r>
              <a:rPr lang="en-US" dirty="0"/>
              <a:t>and paste imag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15FDEA2-616E-44F0-9C9D-8C4D782AA50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4800" y="1485900"/>
            <a:ext cx="5638800" cy="47244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2D30E8-89AB-9843-D22C-8D56ED04CDB0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8391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3744">
          <p15:clr>
            <a:srgbClr val="FBAE40"/>
          </p15:clr>
        </p15:guide>
        <p15:guide id="4" pos="39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6213DF-CEC6-4F46-9CD4-5ED4A416AF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78479-5E5D-4B94-9958-5C40D64BED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13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17D87-D3C3-4EBC-8F18-A1178903C7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bulleted content layou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A6700F0-47BA-4878-9AD3-6E38759C53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4800" y="1485900"/>
            <a:ext cx="115824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bulleted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74792D-45F5-96D8-1F27-4A4C5FDE5085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56221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title, and content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57A7C1-7536-4D4B-BE66-71930AD497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115824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A2BB0A-77E3-36C3-00C9-8BF6328AEBE6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9296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orient="horz" pos="624">
          <p15:clr>
            <a:srgbClr val="FBAE40"/>
          </p15:clr>
        </p15:guide>
        <p15:guide id="7" orient="horz" pos="1272">
          <p15:clr>
            <a:srgbClr val="9FCC3B"/>
          </p15:clr>
        </p15:guide>
        <p15:guide id="8" orient="horz" pos="10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, subtitle, and bulleted content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34AC24-E85E-407F-973E-699BC706DC8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115824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bulleted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23C3A0-2DA6-0080-2492-36BBAD6A4F14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6312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orient="horz" pos="624">
          <p15:clr>
            <a:srgbClr val="FBAE40"/>
          </p15:clr>
        </p15:guide>
        <p15:guide id="7" orient="horz" pos="1272">
          <p15:clr>
            <a:srgbClr val="9FCC3B"/>
          </p15:clr>
        </p15:guide>
        <p15:guide id="8" orient="horz" pos="10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lum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3CB2D2-863F-CCD9-C91A-C41DC8BC9CE4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9131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3768">
          <p15:clr>
            <a:srgbClr val="FBAE40"/>
          </p15:clr>
        </p15:guide>
        <p15:guide id="4" pos="391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wo-column with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34AC24-E85E-407F-973E-699BC706DC8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04959F6-41EE-4D17-B71F-BB0F4BB3D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0300" y="17145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109BC0-48E9-E86F-9A40-E1BCFB8E25EE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1620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216">
          <p15:clr>
            <a:srgbClr val="FBAE40"/>
          </p15:clr>
        </p15:guide>
        <p15:guide id="8" orient="horz" pos="624">
          <p15:clr>
            <a:srgbClr val="FBAE40"/>
          </p15:clr>
        </p15:guide>
        <p15:guide id="9" orient="horz" pos="1272">
          <p15:clr>
            <a:srgbClr val="9FCC3B"/>
          </p15:clr>
        </p15:guide>
        <p15:guide id="10" orient="horz" pos="1080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lumn with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19A100-E133-B827-F219-5A7A5B86416E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6419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3768">
          <p15:clr>
            <a:srgbClr val="FBAE40"/>
          </p15:clr>
        </p15:guide>
        <p15:guide id="4" pos="391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,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wo-column with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rgbClr val="94E8FF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3117784-3939-47DC-817E-56BA8ACDF9B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DD8E906-2D5C-440E-979E-D7FE653CDD2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0300" y="17145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74C814-EFD7-C415-12C5-AB443CDFD20F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1642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216">
          <p15:clr>
            <a:srgbClr val="FBAE40"/>
          </p15:clr>
        </p15:guide>
        <p15:guide id="8" orient="horz" pos="624">
          <p15:clr>
            <a:srgbClr val="FBAE40"/>
          </p15:clr>
        </p15:guide>
        <p15:guide id="9" orient="horz" pos="1272">
          <p15:clr>
            <a:srgbClr val="9FCC3B"/>
          </p15:clr>
        </p15:guide>
        <p15:guide id="10" orient="horz" pos="1080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5B641-AA35-4952-8BD0-57A5E6BAC6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de layou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BBB28F6-ED88-4F6C-98C2-239A1B8050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800" y="1485900"/>
            <a:ext cx="115824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/>
              <a:t>Type or paste plain-text code here, or click icon to add imag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1292A21-6183-1F1D-7064-23CAEB10E55A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42293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d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de layout, two colum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DE584B-BFD6-3362-BE8C-05CD11959E80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3862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3768">
          <p15:clr>
            <a:srgbClr val="FBAE40"/>
          </p15:clr>
        </p15:guide>
        <p15:guide id="4" pos="391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ABFD6-0A7E-4C17-A0CF-15563DCD4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485900"/>
            <a:ext cx="8189914" cy="2567077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Enter quote here. Omit quote marks on the text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C139DB6-EAA5-478D-8B47-73B28F478C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4610100"/>
            <a:ext cx="8191500" cy="424732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Enter quoted person’s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D58212-E366-46B6-A286-ED1121692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5045137"/>
            <a:ext cx="8176986" cy="36933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nter quoted person’s affili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2574BF-3C05-A447-6A1B-201AC292E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6552" y="916585"/>
            <a:ext cx="865707" cy="61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48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20">
          <p15:clr>
            <a:srgbClr val="FBAE40"/>
          </p15:clr>
        </p15:guide>
        <p15:guide id="5" pos="5880">
          <p15:clr>
            <a:srgbClr val="FBAE40"/>
          </p15:clr>
        </p15:guide>
        <p15:guide id="6" orient="horz" pos="290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44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D0138-670A-478D-BCC5-48A85ECF1D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707821"/>
            <a:ext cx="8191500" cy="1442355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Section divider – </a:t>
            </a:r>
            <a:br>
              <a:rPr lang="en-US"/>
            </a:br>
            <a:r>
              <a:rPr lang="en-US"/>
              <a:t>Enter section name here</a:t>
            </a:r>
          </a:p>
        </p:txBody>
      </p:sp>
    </p:spTree>
    <p:extLst>
      <p:ext uri="{BB962C8B-B14F-4D97-AF65-F5344CB8AC3E}">
        <p14:creationId xmlns:p14="http://schemas.microsoft.com/office/powerpoint/2010/main" val="1840518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82940-4CB7-443C-9F56-FCA13ED5692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2268E66-E2A6-42E7-9D25-CF980511A875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Autofit/>
          </a:bodyPr>
          <a:lstStyle>
            <a:lvl1pPr marL="800100" indent="0">
              <a:buNone/>
              <a:defRPr/>
            </a:lvl1pPr>
          </a:lstStyle>
          <a:p>
            <a:r>
              <a:rPr lang="en-US" dirty="0"/>
              <a:t>Click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CFD226-D826-41A8-94B2-5E84F7FD8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47700"/>
            <a:ext cx="121920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Video layout (enter descriptive title here for accessibility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047462-1231-445A-AA93-50CAC0505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FC41DDA-0F3C-9893-5304-909536D2EF7B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699173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10167-6731-422B-AAF3-3DCD022FDA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rison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7F764-8D3D-4D65-9DEE-EB4D76A919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4800" y="1496306"/>
            <a:ext cx="5676897" cy="480131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nter he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FD69C2-FBB8-4670-938B-F05693537C1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04800" y="1989137"/>
            <a:ext cx="5676897" cy="1855893"/>
          </a:xfrm>
        </p:spPr>
        <p:txBody>
          <a:bodyPr/>
          <a:lstStyle>
            <a:lvl1pPr marL="0" indent="0">
              <a:buNone/>
              <a:defRPr sz="2400"/>
            </a:lvl1pPr>
            <a:lvl2pPr marL="228600" indent="0">
              <a:buNone/>
              <a:defRPr sz="2000"/>
            </a:lvl2pPr>
            <a:lvl3pPr marL="457200" indent="0">
              <a:buNone/>
              <a:defRPr sz="1800"/>
            </a:lvl3pPr>
            <a:lvl4pPr marL="685800" indent="0">
              <a:buNone/>
              <a:defRPr sz="1600"/>
            </a:lvl4pPr>
            <a:lvl5pPr marL="685800" indent="0">
              <a:buNone/>
              <a:defRPr sz="1600"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22A0D-CA84-4D80-B7CB-26EC3C0607B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10303" y="1496306"/>
            <a:ext cx="5676897" cy="480131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nter 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21A746-02E0-4C53-AAE0-D0AE61EBDA6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10303" y="1989137"/>
            <a:ext cx="5676896" cy="1855893"/>
          </a:xfrm>
        </p:spPr>
        <p:txBody>
          <a:bodyPr/>
          <a:lstStyle>
            <a:lvl1pPr marL="0" indent="0">
              <a:buNone/>
              <a:defRPr sz="2400"/>
            </a:lvl1pPr>
            <a:lvl2pPr marL="228600" indent="0">
              <a:buNone/>
              <a:defRPr sz="2000"/>
            </a:lvl2pPr>
            <a:lvl3pPr marL="457200" indent="0">
              <a:buNone/>
              <a:defRPr sz="1800"/>
            </a:lvl3pPr>
            <a:lvl4pPr marL="685800" indent="0">
              <a:buNone/>
              <a:defRPr sz="1600"/>
            </a:lvl4pPr>
            <a:lvl5pPr marL="685800" indent="0">
              <a:buNone/>
              <a:defRPr sz="1600"/>
            </a:lvl5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AF4865-A0E8-B670-9570-A97E0F852ACA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0609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pos="3768">
          <p15:clr>
            <a:srgbClr val="FBAE40"/>
          </p15:clr>
        </p15:guide>
        <p15:guide id="4" pos="39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EC130-06E7-4370-BE1F-6B09EE729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4152900" cy="1181100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/>
              <a:t>Content with captio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4425BD-017D-469D-AB54-06E3E3BCCB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29200" y="304799"/>
            <a:ext cx="6858000" cy="5905501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  <a:lvl2pPr marL="228600" indent="0">
              <a:buNone/>
              <a:defRPr sz="2400"/>
            </a:lvl2pPr>
            <a:lvl3pPr marL="457200" indent="0">
              <a:buNone/>
              <a:defRPr sz="2000"/>
            </a:lvl3pPr>
            <a:lvl4pPr marL="685800" indent="0">
              <a:buNone/>
              <a:defRPr sz="1800"/>
            </a:lvl4pPr>
            <a:lvl5pPr marL="685800" indent="0">
              <a:buNone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4C1E26-36AF-47C4-ABA4-2D427A11BD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2181224"/>
            <a:ext cx="4152900" cy="40290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nter descrip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EC1032-C2BD-1E32-C7E4-FDAB14330E5C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1612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2808">
          <p15:clr>
            <a:srgbClr val="FBAE40"/>
          </p15:clr>
        </p15:guide>
        <p15:guide id="5" orient="horz" pos="1368">
          <p15:clr>
            <a:srgbClr val="FBAE40"/>
          </p15:clr>
        </p15:guide>
        <p15:guide id="6" pos="316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988CF-49CB-49EE-AEAE-AF86931C7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4152900" cy="1181100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/>
              <a:t>Picture with caption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FCFB70-4D2B-4A5F-B5F1-1904D4D48BF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029200" y="304799"/>
            <a:ext cx="6858000" cy="5905501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imag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4DB1E-5222-413E-A157-09D2D7B06BE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2181224"/>
            <a:ext cx="4152900" cy="402907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nter descrip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CDA0A6-FF02-D588-71AA-5F4E30335423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7326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2808">
          <p15:clr>
            <a:srgbClr val="FBAE40"/>
          </p15:clr>
        </p15:guide>
        <p15:guide id="5" orient="horz" pos="1368">
          <p15:clr>
            <a:srgbClr val="FBAE40"/>
          </p15:clr>
        </p15:guide>
        <p15:guide id="6" pos="316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A4B92D1-BD95-4ACC-9E97-FE9B372B651C}"/>
              </a:ext>
            </a:extLst>
          </p:cNvPr>
          <p:cNvSpPr txBox="1"/>
          <p:nvPr/>
        </p:nvSpPr>
        <p:spPr bwMode="white">
          <a:xfrm>
            <a:off x="133351" y="1738406"/>
            <a:ext cx="8413750" cy="1079500"/>
          </a:xfrm>
          <a:prstGeom prst="rect">
            <a:avLst/>
          </a:prstGeom>
          <a:noFill/>
        </p:spPr>
        <p:txBody>
          <a:bodyPr lIns="182880" tIns="91440" rIns="146304" bIns="91440"/>
          <a:lstStyle>
            <a:lvl1pPr defTabSz="1097278">
              <a:lnSpc>
                <a:spcPct val="90000"/>
              </a:lnSpc>
              <a:spcBef>
                <a:spcPct val="0"/>
              </a:spcBef>
              <a:buNone/>
              <a:defRPr lang="en-US" sz="6600" b="0" cap="none" spc="-118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Amazon Ember Display Heavy" panose="020F0803020204020204" pitchFamily="34" charset="0"/>
                <a:ea typeface="Amazon Ember Display Heavy" panose="020F0803020204020204" pitchFamily="34" charset="0"/>
                <a:cs typeface="Amazon Ember Display Heavy" panose="020F0803020204020204" pitchFamily="34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sz="6600" b="1" i="0" spc="-300" dirty="0">
                <a:solidFill>
                  <a:schemeClr val="tx1"/>
                </a:solidFill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Thank you!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1881157-0DF8-49E6-B684-3E8FD245EE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A2927B3-63A9-43F6-91E9-B153F0DF34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/>
              <a:t>Speaker contact info (such as email or socials)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5647617-D370-4344-8A52-A50356181D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5949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01E06BA-A855-4482-AB73-94B5EFBA84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20100" y="3453368"/>
            <a:ext cx="3429000" cy="369332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67C7A81-0FAF-4B91-8CE3-3CB926ABA2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5949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/>
              <a:t>Speaker contact info (such as email or socials)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9E66DAE-B2A2-4775-9B21-0BED6B9C88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20100" y="3835400"/>
            <a:ext cx="3429000" cy="1128486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/>
              <a:t>Speaker contact info (such as email or socials)</a:t>
            </a:r>
          </a:p>
        </p:txBody>
      </p:sp>
      <p:sp>
        <p:nvSpPr>
          <p:cNvPr id="43" name="Title 42">
            <a:extLst>
              <a:ext uri="{FF2B5EF4-FFF2-40B4-BE49-F238E27FC236}">
                <a16:creationId xmlns:a16="http://schemas.microsoft.com/office/drawing/2014/main" id="{0D9B8DBA-78C6-4788-90BB-271D175CD3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60868"/>
            <a:ext cx="12192000" cy="638175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Thank you layou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062FF8-A31F-4435-8161-8EAE108ECB86}"/>
              </a:ext>
            </a:extLst>
          </p:cNvPr>
          <p:cNvSpPr txBox="1"/>
          <p:nvPr userDrawn="1"/>
        </p:nvSpPr>
        <p:spPr bwMode="white">
          <a:xfrm>
            <a:off x="133351" y="1738406"/>
            <a:ext cx="8413750" cy="1079500"/>
          </a:xfrm>
          <a:prstGeom prst="rect">
            <a:avLst/>
          </a:prstGeom>
          <a:noFill/>
        </p:spPr>
        <p:txBody>
          <a:bodyPr lIns="182880" tIns="91440" rIns="146304" bIns="91440"/>
          <a:lstStyle>
            <a:lvl1pPr defTabSz="1097278">
              <a:lnSpc>
                <a:spcPct val="90000"/>
              </a:lnSpc>
              <a:spcBef>
                <a:spcPct val="0"/>
              </a:spcBef>
              <a:buNone/>
              <a:defRPr lang="en-US" sz="6600" b="0" cap="none" spc="-118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Amazon Ember Display Heavy" panose="020F0803020204020204" pitchFamily="34" charset="0"/>
                <a:ea typeface="Amazon Ember Display Heavy" panose="020F0803020204020204" pitchFamily="34" charset="0"/>
                <a:cs typeface="Amazon Ember Display Heavy" panose="020F0803020204020204" pitchFamily="34" charset="0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sz="6600" b="1" i="0" spc="-300" dirty="0">
                <a:solidFill>
                  <a:schemeClr val="tx1"/>
                </a:solidFill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Thank you!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00F4629-A8CC-10CF-3C84-05B3B4D3F19A}"/>
              </a:ext>
            </a:extLst>
          </p:cNvPr>
          <p:cNvGrpSpPr/>
          <p:nvPr userDrawn="1"/>
        </p:nvGrpSpPr>
        <p:grpSpPr>
          <a:xfrm>
            <a:off x="7232650" y="1769509"/>
            <a:ext cx="4961114" cy="1039336"/>
            <a:chOff x="7232650" y="1769509"/>
            <a:chExt cx="4961114" cy="1039336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88D1684-E69B-4BF1-956C-4600D33ED7E6}"/>
                </a:ext>
              </a:extLst>
            </p:cNvPr>
            <p:cNvGrpSpPr/>
            <p:nvPr/>
          </p:nvGrpSpPr>
          <p:grpSpPr>
            <a:xfrm>
              <a:off x="7232650" y="1769509"/>
              <a:ext cx="4961114" cy="1039336"/>
              <a:chOff x="7232650" y="1769509"/>
              <a:chExt cx="4961114" cy="1039336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D8C82193-EFD3-4D2B-8782-3EDF896DF0BA}"/>
                  </a:ext>
                </a:extLst>
              </p:cNvPr>
              <p:cNvSpPr/>
              <p:nvPr/>
            </p:nvSpPr>
            <p:spPr bwMode="auto">
              <a:xfrm>
                <a:off x="7232650" y="1872748"/>
                <a:ext cx="832859" cy="832859"/>
              </a:xfrm>
              <a:prstGeom prst="ellipse">
                <a:avLst/>
              </a:prstGeom>
              <a:solidFill>
                <a:srgbClr val="5600C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0" tIns="91440" rIns="0" bIns="0" anchor="ctr"/>
              <a:lstStyle/>
              <a:p>
                <a:pPr algn="ctr" defTabSz="932472" eaLnBrk="1" hangingPunct="1">
                  <a:lnSpc>
                    <a:spcPct val="90000"/>
                  </a:lnSpc>
                  <a:defRPr/>
                </a:pPr>
                <a:endParaRPr lang="en-US" sz="5400" b="1" dirty="0">
                  <a:solidFill>
                    <a:schemeClr val="tx1"/>
                  </a:solidFill>
                  <a:ea typeface="Amazon Ember Display" panose="020F0603020204020204" pitchFamily="34" charset="0"/>
                  <a:cs typeface="Amazon Ember Display" panose="020F0603020204020204" pitchFamily="34" charset="0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ABEEF64-4B8B-48D3-8E0D-D506F4A5202A}"/>
                  </a:ext>
                </a:extLst>
              </p:cNvPr>
              <p:cNvSpPr/>
              <p:nvPr/>
            </p:nvSpPr>
            <p:spPr>
              <a:xfrm>
                <a:off x="7637646" y="1872748"/>
                <a:ext cx="4556118" cy="832859"/>
              </a:xfrm>
              <a:prstGeom prst="rect">
                <a:avLst/>
              </a:prstGeom>
              <a:gradFill flip="none" rotWithShape="1">
                <a:gsLst>
                  <a:gs pos="57000">
                    <a:srgbClr val="D42994"/>
                  </a:gs>
                  <a:gs pos="100000">
                    <a:schemeClr val="accent1"/>
                  </a:gs>
                  <a:gs pos="17000">
                    <a:srgbClr val="5600C2"/>
                  </a:gs>
                </a:gsLst>
                <a:lin ang="144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828800" rIns="182880" rtlCol="0" anchor="ctr"/>
              <a:lstStyle/>
              <a:p>
                <a:pPr lvl="0">
                  <a:lnSpc>
                    <a:spcPct val="80000"/>
                  </a:lnSpc>
                </a:pPr>
                <a:endParaRPr lang="en-US" sz="1600" dirty="0">
                  <a:solidFill>
                    <a:schemeClr val="bg1"/>
                  </a:solidFill>
                  <a:cs typeface="Amazon Ember Display" panose="020F0603020204020204" pitchFamily="34" charset="0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6735EC7-4D84-436F-BE95-44BBDD0DE566}"/>
                  </a:ext>
                </a:extLst>
              </p:cNvPr>
              <p:cNvSpPr txBox="1"/>
              <p:nvPr/>
            </p:nvSpPr>
            <p:spPr>
              <a:xfrm>
                <a:off x="8594726" y="1900795"/>
                <a:ext cx="3394181" cy="7940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algn="l">
                  <a:lnSpc>
                    <a:spcPct val="90000"/>
                  </a:lnSpc>
                  <a:spcAft>
                    <a:spcPts val="1800"/>
                  </a:spcAft>
                </a:pPr>
                <a:r>
                  <a:rPr lang="en-US" sz="1800" b="0" dirty="0">
                    <a:solidFill>
                      <a:schemeClr val="tx1"/>
                    </a:solidFill>
                    <a:latin typeface="Amazon Ember Display" panose="020F0603020204020204" pitchFamily="34" charset="0"/>
                    <a:ea typeface="Amazon Ember Display" panose="020F0603020204020204" pitchFamily="34" charset="0"/>
                    <a:cs typeface="Amazon Ember Display" panose="020F0603020204020204" pitchFamily="34" charset="0"/>
                  </a:rPr>
                  <a:t>Please complete the session survey in the </a:t>
                </a:r>
                <a:r>
                  <a:rPr lang="en-US" sz="1800" b="0" u="none" dirty="0">
                    <a:solidFill>
                      <a:schemeClr val="tx1"/>
                    </a:solidFill>
                    <a:latin typeface="Amazon Ember Display" panose="020F0603020204020204" pitchFamily="34" charset="0"/>
                    <a:ea typeface="Amazon Ember Display" panose="020F0603020204020204" pitchFamily="34" charset="0"/>
                    <a:cs typeface="Amazon Ember Display" panose="020F0603020204020204" pitchFamily="34" charset="0"/>
                  </a:rPr>
                  <a:t>mobile app</a:t>
                </a:r>
              </a:p>
            </p:txBody>
          </p:sp>
          <p:pic>
            <p:nvPicPr>
              <p:cNvPr id="48" name="Graphic 47">
                <a:extLst>
                  <a:ext uri="{FF2B5EF4-FFF2-40B4-BE49-F238E27FC236}">
                    <a16:creationId xmlns:a16="http://schemas.microsoft.com/office/drawing/2014/main" id="{AB4E0B87-EA7D-427C-8B28-C2C130B341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511809" y="1769509"/>
                <a:ext cx="1039336" cy="1039336"/>
              </a:xfrm>
              <a:prstGeom prst="rect">
                <a:avLst/>
              </a:prstGeom>
            </p:spPr>
          </p:pic>
        </p:grp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D33152C-786D-46D8-AB0E-1112264E3C19}"/>
                </a:ext>
              </a:extLst>
            </p:cNvPr>
            <p:cNvSpPr/>
            <p:nvPr userDrawn="1"/>
          </p:nvSpPr>
          <p:spPr bwMode="auto">
            <a:xfrm>
              <a:off x="7232650" y="1872748"/>
              <a:ext cx="832859" cy="832859"/>
            </a:xfrm>
            <a:prstGeom prst="ellipse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tIns="91440" rIns="0" bIns="0" anchor="ctr"/>
            <a:lstStyle/>
            <a:p>
              <a:pPr algn="ctr" defTabSz="932472" eaLnBrk="1" hangingPunct="1">
                <a:lnSpc>
                  <a:spcPct val="90000"/>
                </a:lnSpc>
                <a:defRPr/>
              </a:pPr>
              <a:endParaRPr lang="en-US" sz="5400" b="1" dirty="0">
                <a:solidFill>
                  <a:schemeClr val="tx1"/>
                </a:solidFill>
                <a:ea typeface="Amazon Ember Display" panose="020F0603020204020204" pitchFamily="34" charset="0"/>
                <a:cs typeface="Amazon Ember Display" panose="020F0603020204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E5252D0-E22A-4B71-AE74-00D7D3B240B4}"/>
                </a:ext>
              </a:extLst>
            </p:cNvPr>
            <p:cNvSpPr/>
            <p:nvPr userDrawn="1"/>
          </p:nvSpPr>
          <p:spPr>
            <a:xfrm>
              <a:off x="7637646" y="1872748"/>
              <a:ext cx="4556118" cy="832859"/>
            </a:xfrm>
            <a:prstGeom prst="rect">
              <a:avLst/>
            </a:prstGeom>
            <a:gradFill flip="none" rotWithShape="1">
              <a:gsLst>
                <a:gs pos="57000">
                  <a:schemeClr val="accent4"/>
                </a:gs>
                <a:gs pos="100000">
                  <a:schemeClr val="accent5"/>
                </a:gs>
                <a:gs pos="17000">
                  <a:schemeClr val="accent6"/>
                </a:gs>
              </a:gsLst>
              <a:lin ang="144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0" rIns="182880" rtlCol="0" anchor="ctr"/>
            <a:lstStyle/>
            <a:p>
              <a:pPr lvl="0">
                <a:lnSpc>
                  <a:spcPct val="80000"/>
                </a:lnSpc>
              </a:pPr>
              <a:endParaRPr lang="en-US" sz="1600" dirty="0">
                <a:solidFill>
                  <a:schemeClr val="bg1"/>
                </a:solidFill>
                <a:cs typeface="Amazon Ember Display" panose="020F0603020204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85C0662-C0AE-453F-B95E-C85C036C040A}"/>
                </a:ext>
              </a:extLst>
            </p:cNvPr>
            <p:cNvSpPr txBox="1"/>
            <p:nvPr userDrawn="1"/>
          </p:nvSpPr>
          <p:spPr>
            <a:xfrm>
              <a:off x="8594726" y="1900795"/>
              <a:ext cx="3394181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l">
                <a:lnSpc>
                  <a:spcPct val="90000"/>
                </a:lnSpc>
                <a:spcAft>
                  <a:spcPts val="1800"/>
                </a:spcAft>
              </a:pPr>
              <a:r>
                <a:rPr lang="en-US" sz="1800" b="0" dirty="0">
                  <a:solidFill>
                    <a:schemeClr val="tx1"/>
                  </a:solidFill>
                  <a:latin typeface="Amazon Ember Display" panose="020F0603020204020204" pitchFamily="34" charset="0"/>
                  <a:ea typeface="Amazon Ember Display" panose="020F0603020204020204" pitchFamily="34" charset="0"/>
                  <a:cs typeface="Amazon Ember Display" panose="020F0603020204020204" pitchFamily="34" charset="0"/>
                </a:rPr>
                <a:t>Please complete the session survey in the </a:t>
              </a:r>
              <a:r>
                <a:rPr lang="en-US" sz="1800" b="0" u="none" dirty="0">
                  <a:solidFill>
                    <a:schemeClr val="tx1"/>
                  </a:solidFill>
                  <a:latin typeface="Amazon Ember Display" panose="020F0603020204020204" pitchFamily="34" charset="0"/>
                  <a:ea typeface="Amazon Ember Display" panose="020F0603020204020204" pitchFamily="34" charset="0"/>
                  <a:cs typeface="Amazon Ember Display" panose="020F0603020204020204" pitchFamily="34" charset="0"/>
                </a:rPr>
                <a:t>mobile app</a:t>
              </a: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5D531E0-3439-4344-A3BA-CF347BDA68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511809" y="1769509"/>
              <a:ext cx="1039336" cy="10393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3462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6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75D63-DB02-47E2-8ABC-1CDE7351B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vertical text layout (for global use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98635E-72DE-4F61-BE10-3EAC7D7834F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04800" y="1485900"/>
            <a:ext cx="11582401" cy="4724400"/>
          </a:xfrm>
        </p:spPr>
        <p:txBody>
          <a:bodyPr vert="eaVer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9159E0-3341-8CF0-C60E-84BFEDBFD366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35073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5A6E2F-2A0D-41FD-98C9-E5EC67311CD7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9258300" y="304800"/>
            <a:ext cx="2628900" cy="5811838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Vertical title and text layout (for global use)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04BEE4-73E5-478E-9908-4B1421AA9F8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04800" y="304800"/>
            <a:ext cx="8267700" cy="5905499"/>
          </a:xfrm>
        </p:spPr>
        <p:txBody>
          <a:bodyPr vert="eaVert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Enter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7C6B89-0D17-64BD-DCC0-8559BC245ECF}"/>
              </a:ext>
            </a:extLst>
          </p:cNvPr>
          <p:cNvSpPr/>
          <p:nvPr userDrawn="1"/>
        </p:nvSpPr>
        <p:spPr>
          <a:xfrm>
            <a:off x="0" y="0"/>
            <a:ext cx="80304" cy="6858000"/>
          </a:xfrm>
          <a:prstGeom prst="rect">
            <a:avLst/>
          </a:prstGeom>
          <a:gradFill flip="none" rotWithShape="1">
            <a:gsLst>
              <a:gs pos="0">
                <a:srgbClr val="FF28EF"/>
              </a:gs>
              <a:gs pos="100000">
                <a:srgbClr val="F66C0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05135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of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7570948-50D6-4C6C-89FC-1CF33457240B}"/>
              </a:ext>
            </a:extLst>
          </p:cNvPr>
          <p:cNvSpPr txBox="1"/>
          <p:nvPr/>
        </p:nvSpPr>
        <p:spPr>
          <a:xfrm>
            <a:off x="3486150" y="2418081"/>
            <a:ext cx="7785100" cy="2021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6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Do not use layouts after this slide.</a:t>
            </a:r>
            <a:br>
              <a:rPr lang="en-US" sz="66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</a:br>
            <a:r>
              <a:rPr lang="en-US" sz="24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They are not part of the official template.</a:t>
            </a:r>
            <a:endParaRPr lang="en-US" sz="6600" b="1" i="0" dirty="0">
              <a:latin typeface="Amazon Ember Display Heavy" panose="020F0603020204020204" pitchFamily="34" charset="0"/>
              <a:ea typeface="Amazon Ember Display Heavy" panose="020F0603020204020204" pitchFamily="34" charset="0"/>
              <a:cs typeface="Amazon Ember Display Heavy" panose="020F0603020204020204" pitchFamily="34" charset="0"/>
            </a:endParaRPr>
          </a:p>
        </p:txBody>
      </p:sp>
      <p:pic>
        <p:nvPicPr>
          <p:cNvPr id="7" name="Graphic 6" descr="Stop sign">
            <a:extLst>
              <a:ext uri="{FF2B5EF4-FFF2-40B4-BE49-F238E27FC236}">
                <a16:creationId xmlns:a16="http://schemas.microsoft.com/office/drawing/2014/main" id="{D8BDC3FF-1738-461C-B98B-AC108F0BBD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0FE312-C9C4-4D68-84C2-8474F9AC7B80}"/>
              </a:ext>
            </a:extLst>
          </p:cNvPr>
          <p:cNvSpPr txBox="1"/>
          <p:nvPr userDrawn="1"/>
        </p:nvSpPr>
        <p:spPr>
          <a:xfrm>
            <a:off x="3486150" y="2418081"/>
            <a:ext cx="7785100" cy="2021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6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Do not use layouts after this slide.</a:t>
            </a:r>
            <a:br>
              <a:rPr lang="en-US" sz="66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</a:br>
            <a:r>
              <a:rPr lang="en-US" sz="2400" b="1" i="0" dirty="0">
                <a:latin typeface="Amazon Ember Display Heavy" panose="020F0603020204020204" pitchFamily="34" charset="0"/>
                <a:ea typeface="Amazon Ember Display Heavy" panose="020F0603020204020204" pitchFamily="34" charset="0"/>
                <a:cs typeface="Amazon Ember Display Heavy" panose="020F0603020204020204" pitchFamily="34" charset="0"/>
              </a:rPr>
              <a:t>They are not part of the official template.</a:t>
            </a:r>
            <a:endParaRPr lang="en-US" sz="6600" b="1" i="0" dirty="0">
              <a:latin typeface="Amazon Ember Display Heavy" panose="020F0603020204020204" pitchFamily="34" charset="0"/>
              <a:ea typeface="Amazon Ember Display Heavy" panose="020F0603020204020204" pitchFamily="34" charset="0"/>
              <a:cs typeface="Amazon Ember Display Heavy" panose="020F0603020204020204" pitchFamily="34" charset="0"/>
            </a:endParaRPr>
          </a:p>
        </p:txBody>
      </p:sp>
      <p:pic>
        <p:nvPicPr>
          <p:cNvPr id="5" name="Graphic 4" descr="Stop sign">
            <a:extLst>
              <a:ext uri="{FF2B5EF4-FFF2-40B4-BE49-F238E27FC236}">
                <a16:creationId xmlns:a16="http://schemas.microsoft.com/office/drawing/2014/main" id="{1A449BC8-253C-4399-90A0-AFA3B2F726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6691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B406E-49D4-4042-B360-7083D5E4F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-649830"/>
            <a:ext cx="10972800" cy="535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Enter unique title of slide for accessi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91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391B74-659E-4EB1-8DB0-B962093F0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67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70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C9F527-D79C-440B-B319-CEBF1007A5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EFB9FE3-9C1F-81FD-1E19-622835D9F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00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8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3CD162-36E5-4E1C-93C9-894ACAAC7B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43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493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D297B23-3653-4476-A42F-5151D87191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89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95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EA9B394-984F-4DD1-B83D-97B7F84DA8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40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37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0A8AA05-76F3-4860-A211-8F4FB0C1A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4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Black Fi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051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0A8AA05-76F3-4860-A211-8F4FB0C1A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CE6AE98-6078-4709-955A-61F481EAB8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70000"/>
                </a:srgb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21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161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0A8AA05-76F3-4860-A211-8F4FB0C1AE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34984A3-49F4-1638-6161-B6FBC7DCB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698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nnel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D3226E-49F4-4E3D-913C-F32F2FEFB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366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4D3226E-49F4-4E3D-913C-F32F2FEFB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0737BA2-1DAC-4429-8CD5-59570C3FA1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27FD0B-69C6-476F-BF85-7E566503C615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92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59CB63E-38B8-FE5B-666A-D9CAD75A24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5B96BE-BEFA-47C5-B5F6-07D5B53EF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60400"/>
            <a:ext cx="121920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Walk-in layou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417F2A1-98C3-4830-9E59-A97205CFBC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5512" y="2678010"/>
            <a:ext cx="3392027" cy="1093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288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76">
          <p15:clr>
            <a:srgbClr val="FBAE40"/>
          </p15:clr>
        </p15:guide>
        <p15:guide id="2" pos="38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BA2C6C5-52CD-21BC-0C46-58751D26AE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 dirty="0"/>
              <a:t>Enter session title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759EA25C-F220-44E9-8D3E-368B78EE07DB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39" y="6476852"/>
            <a:ext cx="477135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700" dirty="0"/>
              <a:t>© </a:t>
            </a:r>
            <a:fld id="{D92C1840-24C3-7243-BACE-05F0D6812AEA}" type="datetimeyyyy">
              <a:rPr lang="en-US" sz="700" smtClean="0"/>
              <a:pPr algn="l"/>
              <a:t>2025</a:t>
            </a:fld>
            <a:r>
              <a:rPr lang="en-US" sz="700" dirty="0"/>
              <a:t>, Amazon Web Services, Inc. or its affiliates. All rights reserved. Amazon Confidential and Trademark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6" y="4692846"/>
            <a:ext cx="370232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6" y="5066908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FDA763-3CFE-4A8E-A7A4-4971BDA4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292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bullete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7DE2B-5658-4ECD-9AB5-497E1D05E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79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Two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6F55355-518E-A9CA-29FB-FFBD27B358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 dirty="0"/>
              <a:t>Enter session title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759EA25C-F220-44E9-8D3E-368B78EE07DB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6" y="4692846"/>
            <a:ext cx="370232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6" y="5066907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69ABB5-4D60-42A3-815E-56E31E1F1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56766" y="4692846"/>
            <a:ext cx="3702329" cy="369332"/>
          </a:xfrm>
        </p:spPr>
        <p:txBody>
          <a:bodyPr/>
          <a:lstStyle>
            <a:lvl1pPr marL="0" indent="0">
              <a:buNone/>
              <a:defRPr sz="2000"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AE8770-95C8-4BFC-8D8E-818B753038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56766" y="5066907"/>
            <a:ext cx="370232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AD6224-65DB-4349-8ABF-C9D9E063E2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702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295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Three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1B77736-F964-9E03-7D10-969905EB76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24D4546-D701-4B35-9802-54E73AEB8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2916" y="1990726"/>
            <a:ext cx="8274329" cy="258532"/>
          </a:xfrm>
        </p:spPr>
        <p:txBody>
          <a:bodyPr/>
          <a:lstStyle>
            <a:lvl1pPr marL="0" indent="0" algn="l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egal text placeholder (editor use only)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4CB04F-C9B8-4D74-A55A-0AC876E8A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2916" y="2400300"/>
            <a:ext cx="8274329" cy="1865508"/>
          </a:xfrm>
        </p:spPr>
        <p:txBody>
          <a:bodyPr tIns="146304" bIns="146304"/>
          <a:lstStyle>
            <a:lvl1pPr>
              <a:defRPr sz="4400"/>
            </a:lvl1pPr>
          </a:lstStyle>
          <a:p>
            <a:r>
              <a:rPr lang="en-US" dirty="0"/>
              <a:t>Enter session title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759EA25C-F220-44E9-8D3E-368B78EE07DB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C6DF77-859A-4968-8301-C7FA52E8E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917" y="4692846"/>
            <a:ext cx="2661369" cy="369332"/>
          </a:xfrm>
        </p:spPr>
        <p:txBody>
          <a:bodyPr/>
          <a:lstStyle>
            <a:lvl1pPr marL="0" indent="0">
              <a:buNone/>
              <a:defRPr sz="2000" b="1" cap="none" spc="0" baseline="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D8DDED4-39D2-4F36-B877-72364957F9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916" y="1492893"/>
            <a:ext cx="3492500" cy="258532"/>
          </a:xfrm>
        </p:spPr>
        <p:txBody>
          <a:bodyPr/>
          <a:lstStyle>
            <a:lvl1pPr marL="0" indent="0"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ession ID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9FE2D1-0188-4BD9-97B7-CA795447E4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2917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69ABB5-4D60-42A3-815E-56E31E1F1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29724" y="4692846"/>
            <a:ext cx="2661369" cy="369332"/>
          </a:xfrm>
        </p:spPr>
        <p:txBody>
          <a:bodyPr/>
          <a:lstStyle>
            <a:lvl1pPr marL="0" indent="0">
              <a:buNone/>
              <a:defRPr sz="2000" b="1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8773FF-A575-4D5D-AC30-DAFFB441F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6531" y="4692846"/>
            <a:ext cx="2661369" cy="369332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8B14D59-1495-4288-ACD8-22C48054FD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724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ACBDE7C4-64AF-4CA5-A203-DC58B71673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6531" y="5066907"/>
            <a:ext cx="2661369" cy="757130"/>
          </a:xfrm>
        </p:spPr>
        <p:txBody>
          <a:bodyPr/>
          <a:lstStyle>
            <a:lvl1pPr marL="0" indent="0">
              <a:spcAft>
                <a:spcPts val="300"/>
              </a:spcAft>
              <a:buNone/>
              <a:defRPr sz="16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(pronoun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06CB43E-FDA1-4D97-9EDD-CEF236C963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9284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295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E09F29F-FB70-4479-9632-85DE314617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485900"/>
            <a:ext cx="11582400" cy="3570208"/>
          </a:xfrm>
        </p:spPr>
        <p:txBody>
          <a:bodyPr vert="horz" lIns="0" tIns="45720" rIns="0" bIns="45720" rtlCol="0">
            <a:spAutoFit/>
          </a:bodyPr>
          <a:lstStyle>
            <a:lvl1pPr marL="0" indent="0">
              <a:spcAft>
                <a:spcPts val="3000"/>
              </a:spcAft>
              <a:buNone/>
              <a:defRPr lang="en-US" smtClean="0"/>
            </a:lvl1pPr>
            <a:lvl2pPr marL="0" indent="0">
              <a:spcAft>
                <a:spcPts val="3000"/>
              </a:spcAft>
              <a:buNone/>
              <a:defRPr lang="en-US" sz="2800" smtClean="0"/>
            </a:lvl2pPr>
            <a:lvl3pPr marL="0" indent="0">
              <a:spcAft>
                <a:spcPts val="3000"/>
              </a:spcAft>
              <a:buNone/>
              <a:defRPr lang="en-US" sz="2800" smtClean="0"/>
            </a:lvl3pPr>
            <a:lvl4pPr marL="0" indent="0">
              <a:spcAft>
                <a:spcPts val="3000"/>
              </a:spcAft>
              <a:buNone/>
              <a:defRPr lang="en-US" sz="2800" smtClean="0"/>
            </a:lvl4pPr>
            <a:lvl5pPr marL="0" indent="0">
              <a:spcAft>
                <a:spcPts val="3000"/>
              </a:spcAft>
              <a:buNone/>
              <a:defRPr lang="en-US" sz="2800"/>
            </a:lvl5pPr>
          </a:lstStyle>
          <a:p>
            <a:pPr marL="228600" lvl="0" indent="-228600">
              <a:spcAft>
                <a:spcPts val="3000"/>
              </a:spcAft>
              <a:buClr>
                <a:schemeClr val="tx1"/>
              </a:buClr>
            </a:pPr>
            <a:r>
              <a:rPr lang="en-US" dirty="0"/>
              <a:t>Enter agenda items</a:t>
            </a:r>
          </a:p>
          <a:p>
            <a:pPr marL="457200" lvl="1" indent="-457200">
              <a:spcAft>
                <a:spcPts val="3000"/>
              </a:spcAft>
              <a:buClr>
                <a:schemeClr val="tx1"/>
              </a:buClr>
            </a:pPr>
            <a:r>
              <a:rPr lang="en-US" dirty="0"/>
              <a:t>Second level</a:t>
            </a:r>
          </a:p>
          <a:p>
            <a:pPr marL="457200" lvl="2" indent="-457200">
              <a:spcAft>
                <a:spcPts val="3000"/>
              </a:spcAft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marL="457200" lvl="3" indent="-457200">
              <a:spcAft>
                <a:spcPts val="3000"/>
              </a:spcAft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457200" lvl="4" indent="-457200">
              <a:spcAft>
                <a:spcPts val="3000"/>
              </a:spcAft>
              <a:buClr>
                <a:schemeClr val="tx1"/>
              </a:buClr>
            </a:pPr>
            <a:r>
              <a:rPr lang="en-US" dirty="0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75166B-DC8C-4D02-820A-E0D3587163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 layou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BF8F3F-C59D-447F-A18C-4F458C5EF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0709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2F0F9B-4E5D-4C0C-B506-59FB29965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625057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85508CC-A87F-2A21-7F3F-FB8067110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84A0FAA4-F370-4554-963C-0621DBAE900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D82C82-FAA4-4457-8019-A527148D48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84098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 dirty="0"/>
              <a:t>Ente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C6A24E-644A-47D1-A743-FAAB09271A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66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624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F73FA-018C-42B4-99E2-A1521E83A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47700"/>
            <a:ext cx="11925300" cy="638175"/>
          </a:xfrm>
        </p:spPr>
        <p:txBody>
          <a:bodyPr/>
          <a:lstStyle>
            <a:lvl1pPr>
              <a:defRPr sz="36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Blank layout (enter descriptive title here for accessibilit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547A17-167C-4B7C-9EB3-78A50E0839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768718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F9B2D-B36B-40AC-9254-12739BCD59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FFD8E-0DC3-4B8E-8C49-6A0F23E3D239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7547C9-19DE-47C5-B92E-D961CE0CD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0990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DEF8F-3F3F-4176-AAC6-6F214D9A9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56388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content, imag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4F48D58-FFF9-4D88-86EA-5381B3B43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insert image, </a:t>
            </a:r>
            <a:br>
              <a:rPr lang="en-US" dirty="0"/>
            </a:br>
            <a:r>
              <a:rPr lang="en-US" dirty="0"/>
              <a:t>or select placeholder </a:t>
            </a:r>
            <a:br>
              <a:rPr lang="en-US" dirty="0"/>
            </a:br>
            <a:r>
              <a:rPr lang="en-US" dirty="0"/>
              <a:t>and paste imag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15FDEA2-616E-44F0-9C9D-8C4D782AA50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4800" y="1485900"/>
            <a:ext cx="5638800" cy="47244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2A2F1A-4E48-4381-8802-9890CF36A3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256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17D87-D3C3-4EBC-8F18-A1178903C7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bulleted content layou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A6700F0-47BA-4878-9AD3-6E38759C53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4800" y="1485900"/>
            <a:ext cx="115824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bulleted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B27E33-F9A1-4B7E-98F2-95DDFC9626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9158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33600"/>
            <a:ext cx="10972800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2CBB3C-A513-466E-B53F-E5E578126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AFA98-7BE3-48BD-9D56-EE4F5EEB23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9FCC3B"/>
          </p15:clr>
        </p15:guide>
        <p15:guide id="2" orient="horz" pos="1128">
          <p15:clr>
            <a:srgbClr val="9FCC3B"/>
          </p15:clr>
        </p15:guide>
        <p15:guide id="3" orient="horz" pos="13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content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57A7C1-7536-4D4B-BE66-71930AD497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115824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640AB-C306-447F-B13B-6F1737B84D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8611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624">
          <p15:clr>
            <a:srgbClr val="FBAE40"/>
          </p15:clr>
        </p15:guide>
        <p15:guide id="3" orient="horz" pos="1272">
          <p15:clr>
            <a:srgbClr val="9FCC3B"/>
          </p15:clr>
        </p15:guide>
        <p15:guide id="4" orient="horz" pos="108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bulleted content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34AC24-E85E-407F-973E-699BC706DC8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115824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bulleted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BF271B-9304-419B-B9A2-7C10028868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051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624">
          <p15:clr>
            <a:srgbClr val="FBAE40"/>
          </p15:clr>
        </p15:guide>
        <p15:guide id="3" orient="horz" pos="1272">
          <p15:clr>
            <a:srgbClr val="9FCC3B"/>
          </p15:clr>
        </p15:guide>
        <p15:guide id="4" orient="horz" pos="108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403FA8-4F51-4E88-9613-94CE32CA37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410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68">
          <p15:clr>
            <a:srgbClr val="FBAE40"/>
          </p15:clr>
        </p15:guide>
        <p15:guide id="2" pos="391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34AC24-E85E-407F-973E-699BC706DC8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04959F6-41EE-4D17-B71F-BB0F4BB3DB4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0300" y="1714500"/>
            <a:ext cx="5676900" cy="2049792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30D0AE-4901-4B7C-8638-4A6638176F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2118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624">
          <p15:clr>
            <a:srgbClr val="FBAE40"/>
          </p15:clr>
        </p15:guide>
        <p15:guide id="3" orient="horz" pos="1272">
          <p15:clr>
            <a:srgbClr val="9FCC3B"/>
          </p15:clr>
        </p15:guide>
        <p15:guide id="4" orient="horz" pos="1080">
          <p15:clr>
            <a:srgbClr val="FBAE40"/>
          </p15:clr>
        </p15:guide>
        <p15:guide id="5" pos="3768">
          <p15:clr>
            <a:srgbClr val="FBAE40"/>
          </p15:clr>
        </p15:guide>
        <p15:guide id="6" pos="391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20497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E09516-EAD8-4522-97B6-D67B82BDA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5886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68">
          <p15:clr>
            <a:srgbClr val="FBAE40"/>
          </p15:clr>
        </p15:guide>
        <p15:guide id="2" pos="391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,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26313-2FA2-469F-957D-B5D4672A7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6381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02579A-F003-4256-9071-88F3CD2BA3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000125"/>
            <a:ext cx="11582400" cy="27699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buNone/>
              <a:defRPr sz="1200" b="1" cap="all" spc="300" baseline="0">
                <a:solidFill>
                  <a:schemeClr val="accent1"/>
                </a:solidFill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defRPr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3117784-3939-47DC-817E-56BA8ACDF9B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04800" y="17145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DD8E906-2D5C-440E-979E-D7FE653CDD2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0300" y="1714500"/>
            <a:ext cx="5676900" cy="20497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024B1D-018E-457E-ADB0-0510A86732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5856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orient="horz" pos="624">
          <p15:clr>
            <a:srgbClr val="FBAE40"/>
          </p15:clr>
        </p15:guide>
        <p15:guide id="3" orient="horz" pos="1272">
          <p15:clr>
            <a:srgbClr val="9FCC3B"/>
          </p15:clr>
        </p15:guide>
        <p15:guide id="4" orient="horz" pos="1080">
          <p15:clr>
            <a:srgbClr val="FBAE40"/>
          </p15:clr>
        </p15:guide>
        <p15:guide id="5" pos="3768">
          <p15:clr>
            <a:srgbClr val="FBAE40"/>
          </p15:clr>
        </p15:guide>
        <p15:guide id="6" pos="391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5B641-AA35-4952-8BD0-57A5E6BAC6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de layou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BBB28F6-ED88-4F6C-98C2-239A1B8050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800" y="1485900"/>
            <a:ext cx="115824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Type or paste plain-text code here, or click icon to add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BC4998-72A6-4E94-81BD-41A1511259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67867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d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7FE80-980F-4BC9-94C9-A90DD0413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de layout, two colum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2328A3-F00F-4DC0-B02A-392A2AB97F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04800" y="1485900"/>
            <a:ext cx="56769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E00FB0-23B9-4CB2-8C87-2533F33365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10300" y="1485900"/>
            <a:ext cx="5676900" cy="164660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5EFA6F-B759-42B9-9EC8-88192431FA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7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164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68">
          <p15:clr>
            <a:srgbClr val="FBAE40"/>
          </p15:clr>
        </p15:guide>
        <p15:guide id="2" pos="391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890A961-DBEA-44D4-E1FD-7DD7B7112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3ABFD6-0A7E-4C17-A0CF-15563DCD4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485900"/>
            <a:ext cx="8189914" cy="2567077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Enter quote here. Omit quote marks on the text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C139DB6-EAA5-478D-8B47-73B28F478C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4610100"/>
            <a:ext cx="8191500" cy="424732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 dirty="0"/>
              <a:t>Enter quoted person’s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D58212-E366-46B6-A286-ED11216920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5045137"/>
            <a:ext cx="8176986" cy="36933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Enter quoted person’s affiliation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8ACB3D16-6816-4239-9D78-8C8607D990F1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4453ABE-4B3B-4785-801A-97113C7EBA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1735F0-6B63-48CA-B727-F1A6A472C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5444" t="25279" r="36166" b="58334"/>
          <a:stretch/>
        </p:blipFill>
        <p:spPr>
          <a:xfrm>
            <a:off x="304800" y="916872"/>
            <a:ext cx="855146" cy="585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8810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20">
          <p15:clr>
            <a:srgbClr val="FBAE40"/>
          </p15:clr>
        </p15:guide>
        <p15:guide id="2" pos="5880">
          <p15:clr>
            <a:srgbClr val="FBAE40"/>
          </p15:clr>
        </p15:guide>
        <p15:guide id="3" orient="horz" pos="290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3FA8EB-0600-F8CB-1D5D-ADAF85CCD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8D0138-670A-478D-BCC5-48A85ECF1D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707821"/>
            <a:ext cx="8191500" cy="1442355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 dirty="0"/>
              <a:t>Section divider – </a:t>
            </a:r>
            <a:br>
              <a:rPr lang="en-US" dirty="0"/>
            </a:br>
            <a:r>
              <a:rPr lang="en-US" dirty="0"/>
              <a:t>Enter section name here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8346ACD8-81A7-4692-9AFD-C9752EC695D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4, Amazon Web Services, Inc. or its affiliates. All rights reserv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D8AE1-0FD2-4DEF-8808-670A058C1C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2126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5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24.emf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7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7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19.xml"/><Relationship Id="rId47" Type="http://schemas.openxmlformats.org/officeDocument/2006/relationships/image" Target="../media/image34.png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4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theme" Target="../theme/theme4.xml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63" Type="http://schemas.openxmlformats.org/officeDocument/2006/relationships/slideLayout" Target="../slideLayouts/slideLayout185.xml"/><Relationship Id="rId68" Type="http://schemas.openxmlformats.org/officeDocument/2006/relationships/slideLayout" Target="../slideLayouts/slideLayout190.xml"/><Relationship Id="rId84" Type="http://schemas.openxmlformats.org/officeDocument/2006/relationships/slideLayout" Target="../slideLayouts/slideLayout206.xml"/><Relationship Id="rId89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53" Type="http://schemas.openxmlformats.org/officeDocument/2006/relationships/slideLayout" Target="../slideLayouts/slideLayout175.xml"/><Relationship Id="rId58" Type="http://schemas.openxmlformats.org/officeDocument/2006/relationships/slideLayout" Target="../slideLayouts/slideLayout180.xml"/><Relationship Id="rId74" Type="http://schemas.openxmlformats.org/officeDocument/2006/relationships/slideLayout" Target="../slideLayouts/slideLayout196.xml"/><Relationship Id="rId79" Type="http://schemas.openxmlformats.org/officeDocument/2006/relationships/slideLayout" Target="../slideLayouts/slideLayout201.xml"/><Relationship Id="rId102" Type="http://schemas.openxmlformats.org/officeDocument/2006/relationships/theme" Target="../theme/theme5.xml"/><Relationship Id="rId5" Type="http://schemas.openxmlformats.org/officeDocument/2006/relationships/slideLayout" Target="../slideLayouts/slideLayout127.xml"/><Relationship Id="rId90" Type="http://schemas.openxmlformats.org/officeDocument/2006/relationships/slideLayout" Target="../slideLayouts/slideLayout212.xml"/><Relationship Id="rId95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43" Type="http://schemas.openxmlformats.org/officeDocument/2006/relationships/slideLayout" Target="../slideLayouts/slideLayout165.xml"/><Relationship Id="rId48" Type="http://schemas.openxmlformats.org/officeDocument/2006/relationships/slideLayout" Target="../slideLayouts/slideLayout170.xml"/><Relationship Id="rId64" Type="http://schemas.openxmlformats.org/officeDocument/2006/relationships/slideLayout" Target="../slideLayouts/slideLayout186.xml"/><Relationship Id="rId69" Type="http://schemas.openxmlformats.org/officeDocument/2006/relationships/slideLayout" Target="../slideLayouts/slideLayout191.xml"/><Relationship Id="rId80" Type="http://schemas.openxmlformats.org/officeDocument/2006/relationships/slideLayout" Target="../slideLayouts/slideLayout202.xml"/><Relationship Id="rId85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59" Type="http://schemas.openxmlformats.org/officeDocument/2006/relationships/slideLayout" Target="../slideLayouts/slideLayout181.xml"/><Relationship Id="rId67" Type="http://schemas.openxmlformats.org/officeDocument/2006/relationships/slideLayout" Target="../slideLayouts/slideLayout189.xml"/><Relationship Id="rId103" Type="http://schemas.openxmlformats.org/officeDocument/2006/relationships/image" Target="../media/image53.png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54" Type="http://schemas.openxmlformats.org/officeDocument/2006/relationships/slideLayout" Target="../slideLayouts/slideLayout176.xml"/><Relationship Id="rId62" Type="http://schemas.openxmlformats.org/officeDocument/2006/relationships/slideLayout" Target="../slideLayouts/slideLayout184.xml"/><Relationship Id="rId70" Type="http://schemas.openxmlformats.org/officeDocument/2006/relationships/slideLayout" Target="../slideLayouts/slideLayout192.xml"/><Relationship Id="rId75" Type="http://schemas.openxmlformats.org/officeDocument/2006/relationships/slideLayout" Target="../slideLayouts/slideLayout197.xml"/><Relationship Id="rId83" Type="http://schemas.openxmlformats.org/officeDocument/2006/relationships/slideLayout" Target="../slideLayouts/slideLayout205.xml"/><Relationship Id="rId88" Type="http://schemas.openxmlformats.org/officeDocument/2006/relationships/slideLayout" Target="../slideLayouts/slideLayout210.xml"/><Relationship Id="rId91" Type="http://schemas.openxmlformats.org/officeDocument/2006/relationships/slideLayout" Target="../slideLayouts/slideLayout213.xml"/><Relationship Id="rId96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slideLayout" Target="../slideLayouts/slideLayout171.xml"/><Relationship Id="rId57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slideLayout" Target="../slideLayouts/slideLayout174.xml"/><Relationship Id="rId60" Type="http://schemas.openxmlformats.org/officeDocument/2006/relationships/slideLayout" Target="../slideLayouts/slideLayout182.xml"/><Relationship Id="rId65" Type="http://schemas.openxmlformats.org/officeDocument/2006/relationships/slideLayout" Target="../slideLayouts/slideLayout187.xml"/><Relationship Id="rId73" Type="http://schemas.openxmlformats.org/officeDocument/2006/relationships/slideLayout" Target="../slideLayouts/slideLayout195.xml"/><Relationship Id="rId78" Type="http://schemas.openxmlformats.org/officeDocument/2006/relationships/slideLayout" Target="../slideLayouts/slideLayout200.xml"/><Relationship Id="rId81" Type="http://schemas.openxmlformats.org/officeDocument/2006/relationships/slideLayout" Target="../slideLayouts/slideLayout203.xml"/><Relationship Id="rId86" Type="http://schemas.openxmlformats.org/officeDocument/2006/relationships/slideLayout" Target="../slideLayouts/slideLayout208.xml"/><Relationship Id="rId94" Type="http://schemas.openxmlformats.org/officeDocument/2006/relationships/slideLayout" Target="../slideLayouts/slideLayout216.xml"/><Relationship Id="rId99" Type="http://schemas.openxmlformats.org/officeDocument/2006/relationships/slideLayout" Target="../slideLayouts/slideLayout221.xml"/><Relationship Id="rId101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72.xml"/><Relationship Id="rId55" Type="http://schemas.openxmlformats.org/officeDocument/2006/relationships/slideLayout" Target="../slideLayouts/slideLayout177.xml"/><Relationship Id="rId76" Type="http://schemas.openxmlformats.org/officeDocument/2006/relationships/slideLayout" Target="../slideLayouts/slideLayout198.xml"/><Relationship Id="rId97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129.xml"/><Relationship Id="rId71" Type="http://schemas.openxmlformats.org/officeDocument/2006/relationships/slideLayout" Target="../slideLayouts/slideLayout193.xml"/><Relationship Id="rId92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66" Type="http://schemas.openxmlformats.org/officeDocument/2006/relationships/slideLayout" Target="../slideLayouts/slideLayout188.xml"/><Relationship Id="rId87" Type="http://schemas.openxmlformats.org/officeDocument/2006/relationships/slideLayout" Target="../slideLayouts/slideLayout209.xml"/><Relationship Id="rId61" Type="http://schemas.openxmlformats.org/officeDocument/2006/relationships/slideLayout" Target="../slideLayouts/slideLayout183.xml"/><Relationship Id="rId82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56" Type="http://schemas.openxmlformats.org/officeDocument/2006/relationships/slideLayout" Target="../slideLayouts/slideLayout178.xml"/><Relationship Id="rId77" Type="http://schemas.openxmlformats.org/officeDocument/2006/relationships/slideLayout" Target="../slideLayouts/slideLayout199.xml"/><Relationship Id="rId100" Type="http://schemas.openxmlformats.org/officeDocument/2006/relationships/slideLayout" Target="../slideLayouts/slideLayout222.xml"/><Relationship Id="rId8" Type="http://schemas.openxmlformats.org/officeDocument/2006/relationships/slideLayout" Target="../slideLayouts/slideLayout130.xml"/><Relationship Id="rId51" Type="http://schemas.openxmlformats.org/officeDocument/2006/relationships/slideLayout" Target="../slideLayouts/slideLayout173.xml"/><Relationship Id="rId72" Type="http://schemas.openxmlformats.org/officeDocument/2006/relationships/slideLayout" Target="../slideLayouts/slideLayout194.xml"/><Relationship Id="rId93" Type="http://schemas.openxmlformats.org/officeDocument/2006/relationships/slideLayout" Target="../slideLayouts/slideLayout215.xml"/><Relationship Id="rId98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104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86CC99-EC41-4647-BD17-9EFC9AA4D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1"/>
            <a:ext cx="10972800" cy="535531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28EF9-1BCD-42D2-8B21-6150BBD86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18983"/>
            <a:ext cx="10972800" cy="220368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925A29-F4EF-4A12-9095-1B88A1BDDE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29200" y="62895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F1CF42-1C9C-47C2-AE41-78BE145251DB}"/>
              </a:ext>
            </a:extLst>
          </p:cNvPr>
          <p:cNvSpPr txBox="1"/>
          <p:nvPr userDrawn="1"/>
        </p:nvSpPr>
        <p:spPr>
          <a:xfrm>
            <a:off x="1141084" y="6389813"/>
            <a:ext cx="196720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/>
              <a:t>© </a:t>
            </a:r>
            <a:fld id="{2FBEB970-CF08-9C48-AE92-11646BCD6EF7}" type="datetimeyyyy">
              <a:rPr lang="en-US" sz="600" smtClean="0"/>
              <a:t>2025</a:t>
            </a:fld>
            <a:r>
              <a:rPr lang="en-US" sz="600" dirty="0"/>
              <a:t>, Amazon Web Services, Inc. or its affiliates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D4F7D2-009A-40A3-9C6D-5D576E0365C6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665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75" r:id="rId2"/>
    <p:sldLayoutId id="2147483776" r:id="rId3"/>
    <p:sldLayoutId id="2147483791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67" r:id="rId25"/>
    <p:sldLayoutId id="2147483869" r:id="rId26"/>
    <p:sldLayoutId id="2147483909" r:id="rId27"/>
    <p:sldLayoutId id="2147483910" r:id="rId28"/>
    <p:sldLayoutId id="2147483911" r:id="rId29"/>
    <p:sldLayoutId id="2147483912" r:id="rId30"/>
    <p:sldLayoutId id="2147483913" r:id="rId31"/>
    <p:sldLayoutId id="2147483914" r:id="rId32"/>
    <p:sldLayoutId id="2147483929" r:id="rId33"/>
    <p:sldLayoutId id="2147483971" r:id="rId34"/>
    <p:sldLayoutId id="2147483972" r:id="rId35"/>
    <p:sldLayoutId id="2147483973" r:id="rId36"/>
    <p:sldLayoutId id="2147483990" r:id="rId37"/>
    <p:sldLayoutId id="2147483991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Amazon Ember Display" panose="020F0603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2pPr>
      <a:lvl3pPr marL="8572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mazon Ember" panose="020B0603020204020204" pitchFamily="34" charset="0"/>
        <a:buChar char="–"/>
        <a:defRPr sz="20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3pPr>
      <a:lvl4pPr marL="103028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4pPr>
      <a:lvl5pPr marL="12017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  <p15:guide id="3" orient="horz" pos="192">
          <p15:clr>
            <a:srgbClr val="F26B43"/>
          </p15:clr>
        </p15:guide>
        <p15:guide id="4" orient="horz" pos="3912">
          <p15:clr>
            <a:srgbClr val="F26B43"/>
          </p15:clr>
        </p15:guide>
        <p15:guide id="5" orient="horz" pos="1080">
          <p15:clr>
            <a:srgbClr val="F26B43"/>
          </p15:clr>
        </p15:guide>
        <p15:guide id="6" orient="horz" pos="5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104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1761C06-2FE8-DDA8-92BF-CA111926C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62454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61C06-2FE8-DDA8-92BF-CA111926C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71DBC7-A563-4787-896F-A8C55AC39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638175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4A25B-ECC2-4D0E-BA51-828900AA11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1" y="1485900"/>
            <a:ext cx="11582400" cy="2049792"/>
          </a:xfrm>
          <a:prstGeom prst="rect">
            <a:avLst/>
          </a:prstGeom>
        </p:spPr>
        <p:txBody>
          <a:bodyPr vert="horz" lIns="0" tIns="45720" rIns="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AAC10-7019-4712-85D0-4C900536A5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965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6AEACD-8FDE-40BC-8286-930C357A13C7}" type="datetimeFigureOut">
              <a:rPr lang="en-US" smtClean="0"/>
              <a:pPr/>
              <a:t>4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5BB608-7507-49E6-A3EF-FCF70056BA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9659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EABC0-4D9B-4F84-9C7F-2B0BE8033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965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503246-BBCE-4F0A-BCDC-08FC4C52637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33A955-3B5A-4D3B-8E9F-1BB9D1E1D77C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  <p:sp>
        <p:nvSpPr>
          <p:cNvPr id="9" name="TextBox 3">
            <a:extLst>
              <a:ext uri="{FF2B5EF4-FFF2-40B4-BE49-F238E27FC236}">
                <a16:creationId xmlns:a16="http://schemas.microsoft.com/office/drawing/2014/main" id="{4CAD4279-FBF3-4755-ADA6-63C789BE8BA1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540" y="6476853"/>
            <a:ext cx="3962400" cy="1077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 defTabSz="10972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x-none" sz="700" b="0" i="0" dirty="0">
                <a:solidFill>
                  <a:schemeClr val="tx1"/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5, Amazon Web Services, Inc. 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82375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5" r:id="rId19"/>
    <p:sldLayoutId id="2147484016" r:id="rId20"/>
    <p:sldLayoutId id="2147484017" r:id="rId21"/>
    <p:sldLayoutId id="2147484018" r:id="rId22"/>
    <p:sldLayoutId id="2147484019" r:id="rId23"/>
    <p:sldLayoutId id="2147484020" r:id="rId24"/>
    <p:sldLayoutId id="2147484021" r:id="rId25"/>
    <p:sldLayoutId id="2147484022" r:id="rId26"/>
    <p:sldLayoutId id="2147484023" r:id="rId27"/>
    <p:sldLayoutId id="2147484024" r:id="rId28"/>
    <p:sldLayoutId id="2147484025" r:id="rId29"/>
    <p:sldLayoutId id="2147484026" r:id="rId30"/>
    <p:sldLayoutId id="2147484029" r:id="rId3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tx1"/>
        </a:buClr>
        <a:buSzPct val="90000"/>
        <a:buFont typeface="Amazon Ember Display" panose="020F0603020204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tx1"/>
        </a:buClr>
        <a:buSzPct val="9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mazon Ember Display" panose="020F06030202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0000"/>
        </a:lnSpc>
        <a:spcBef>
          <a:spcPts val="0"/>
        </a:spcBef>
        <a:buClr>
          <a:schemeClr val="tx1"/>
        </a:buClr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92">
          <p15:clr>
            <a:srgbClr val="F26B43"/>
          </p15:clr>
        </p15:guide>
        <p15:guide id="9" orient="horz" pos="3912">
          <p15:clr>
            <a:srgbClr val="F26B43"/>
          </p15:clr>
        </p15:guide>
        <p15:guide id="10" pos="192">
          <p15:clr>
            <a:srgbClr val="F26B43"/>
          </p15:clr>
        </p15:guide>
        <p15:guide id="11" pos="7488">
          <p15:clr>
            <a:srgbClr val="F26B43"/>
          </p15:clr>
        </p15:guide>
        <p15:guide id="12" orient="horz" pos="9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104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65517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5F53403-E02D-40D2-AEC0-E01170285A7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9CA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5FC734FB-C527-4856-9A20-D0FEC5F3D87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575757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795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rgbClr val="009CA5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009CA5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  <a:sym typeface="Amazon Ember" panose="020B0603020204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104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71DBC7-A563-4787-896F-A8C55AC39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638175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4A25B-ECC2-4D0E-BA51-828900AA11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1" y="1485900"/>
            <a:ext cx="11582400" cy="2049792"/>
          </a:xfrm>
          <a:prstGeom prst="rect">
            <a:avLst/>
          </a:prstGeom>
        </p:spPr>
        <p:txBody>
          <a:bodyPr vert="horz" lIns="0" tIns="45720" rIns="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AAC10-7019-4712-85D0-4C900536A5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965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6AEACD-8FDE-40BC-8286-930C357A13C7}" type="datetimeFigureOut">
              <a:rPr lang="en-US" smtClean="0"/>
              <a:pPr/>
              <a:t>4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5BB608-7507-49E6-A3EF-FCF70056BA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9659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EABC0-4D9B-4F84-9C7F-2B0BE8033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9659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503246-BBCE-4F0A-BCDC-08FC4C5263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4CAD4279-FBF3-4755-ADA6-63C789BE8BA1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540" y="6476853"/>
            <a:ext cx="4573396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 marL="742950" indent="-285750"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700" dirty="0"/>
              <a:t>© </a:t>
            </a:r>
            <a:fld id="{D92C1840-24C3-7243-BACE-05F0D6812AEA}" type="datetimeyyyy">
              <a:rPr lang="en-US" sz="700" smtClean="0"/>
              <a:pPr algn="l"/>
              <a:t>2025</a:t>
            </a:fld>
            <a:r>
              <a:rPr lang="en-US" sz="700" dirty="0"/>
              <a:t>, Amazon Web Services, Inc. or its affiliates. All rights reserved. Amazon Confidential and Trademark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00FAE8-23D3-4A1A-8794-61AC6D465E0C}"/>
              </a:ext>
            </a:extLst>
          </p:cNvPr>
          <p:cNvPicPr>
            <a:picLocks noChangeAspect="1"/>
          </p:cNvPicPr>
          <p:nvPr userDrawn="1"/>
        </p:nvPicPr>
        <p:blipFill>
          <a:blip r:embed="rId47"/>
          <a:srcRect/>
          <a:stretch/>
        </p:blipFill>
        <p:spPr>
          <a:xfrm>
            <a:off x="292501" y="6428661"/>
            <a:ext cx="388818" cy="21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361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  <p:sldLayoutId id="2147484064" r:id="rId25"/>
    <p:sldLayoutId id="2147484065" r:id="rId26"/>
    <p:sldLayoutId id="2147484066" r:id="rId27"/>
    <p:sldLayoutId id="2147484067" r:id="rId28"/>
    <p:sldLayoutId id="2147484068" r:id="rId29"/>
    <p:sldLayoutId id="2147484069" r:id="rId30"/>
    <p:sldLayoutId id="2147484070" r:id="rId31"/>
    <p:sldLayoutId id="2147484071" r:id="rId32"/>
    <p:sldLayoutId id="2147484072" r:id="rId33"/>
    <p:sldLayoutId id="2147484073" r:id="rId34"/>
    <p:sldLayoutId id="2147484074" r:id="rId35"/>
    <p:sldLayoutId id="2147484075" r:id="rId36"/>
    <p:sldLayoutId id="2147484076" r:id="rId37"/>
    <p:sldLayoutId id="2147484077" r:id="rId38"/>
    <p:sldLayoutId id="2147484078" r:id="rId39"/>
    <p:sldLayoutId id="2147484079" r:id="rId40"/>
    <p:sldLayoutId id="2147484080" r:id="rId41"/>
    <p:sldLayoutId id="2147484081" r:id="rId42"/>
    <p:sldLayoutId id="2147484082" r:id="rId43"/>
    <p:sldLayoutId id="2147484083" r:id="rId44"/>
    <p:sldLayoutId id="2147484084" r:id="rId45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tx1"/>
        </a:buClr>
        <a:buSzPct val="90000"/>
        <a:buFont typeface="Amazon Ember Display" panose="020F0603020204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tx1"/>
        </a:buClr>
        <a:buSzPct val="9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mazon Ember Display" panose="020F06030202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0000"/>
        </a:lnSpc>
        <a:spcBef>
          <a:spcPts val="0"/>
        </a:spcBef>
        <a:buClr>
          <a:schemeClr val="tx1"/>
        </a:buClr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mazon Ember Display" panose="020F0603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92">
          <p15:clr>
            <a:srgbClr val="F26B43"/>
          </p15:clr>
        </p15:guide>
        <p15:guide id="4" orient="horz" pos="3912">
          <p15:clr>
            <a:srgbClr val="F26B43"/>
          </p15:clr>
        </p15:guide>
        <p15:guide id="5" pos="192">
          <p15:clr>
            <a:srgbClr val="F26B43"/>
          </p15:clr>
        </p15:guide>
        <p15:guide id="6" pos="7488">
          <p15:clr>
            <a:srgbClr val="F26B43"/>
          </p15:clr>
        </p15:guide>
        <p15:guide id="7" orient="horz" pos="93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86CC99-EC41-4647-BD17-9EFC9AA4D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1"/>
            <a:ext cx="10972800" cy="535531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28EF9-1BCD-42D2-8B21-6150BBD86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18983"/>
            <a:ext cx="10972800" cy="220368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925A29-F4EF-4A12-9095-1B88A1BDDE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29200" y="62895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3D8171-6606-4DC3-AA28-D2EE5F0EC812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</a:rPr>
              <a:t>© </a:t>
            </a:r>
            <a:fld id="{C09C7244-04FA-4945-8501-81AE75998B9F}" type="datetimeyyyy">
              <a:rPr lang="en-US" sz="600" smtClean="0">
                <a:solidFill>
                  <a:schemeClr val="tx2"/>
                </a:solidFill>
              </a:rPr>
              <a:t>2025</a:t>
            </a:fld>
            <a:r>
              <a:rPr lang="en-US" sz="600" dirty="0">
                <a:solidFill>
                  <a:schemeClr val="tx2"/>
                </a:solidFill>
              </a:rPr>
              <a:t>, Amazon Web Services, Inc. or its affiliates. All rights reserved. Amazon Confidential and Trademark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D0DB94-9453-40EB-A68F-D7B8C9139862}"/>
              </a:ext>
            </a:extLst>
          </p:cNvPr>
          <p:cNvPicPr>
            <a:picLocks noChangeAspect="1"/>
          </p:cNvPicPr>
          <p:nvPr userDrawn="1"/>
        </p:nvPicPr>
        <p:blipFill>
          <a:blip r:embed="rId10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95" y="6338002"/>
            <a:ext cx="365760" cy="21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8795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099" r:id="rId14"/>
    <p:sldLayoutId id="2147484100" r:id="rId15"/>
    <p:sldLayoutId id="2147484101" r:id="rId16"/>
    <p:sldLayoutId id="2147484102" r:id="rId17"/>
    <p:sldLayoutId id="2147484103" r:id="rId18"/>
    <p:sldLayoutId id="2147484104" r:id="rId19"/>
    <p:sldLayoutId id="2147484105" r:id="rId20"/>
    <p:sldLayoutId id="2147484106" r:id="rId21"/>
    <p:sldLayoutId id="2147484107" r:id="rId22"/>
    <p:sldLayoutId id="2147484108" r:id="rId23"/>
    <p:sldLayoutId id="2147484109" r:id="rId24"/>
    <p:sldLayoutId id="2147484110" r:id="rId25"/>
    <p:sldLayoutId id="2147484111" r:id="rId26"/>
    <p:sldLayoutId id="2147484112" r:id="rId27"/>
    <p:sldLayoutId id="2147484113" r:id="rId28"/>
    <p:sldLayoutId id="2147484114" r:id="rId29"/>
    <p:sldLayoutId id="2147484115" r:id="rId30"/>
    <p:sldLayoutId id="2147484116" r:id="rId31"/>
    <p:sldLayoutId id="2147484117" r:id="rId32"/>
    <p:sldLayoutId id="2147484118" r:id="rId33"/>
    <p:sldLayoutId id="2147484119" r:id="rId34"/>
    <p:sldLayoutId id="2147484120" r:id="rId35"/>
    <p:sldLayoutId id="2147484121" r:id="rId36"/>
    <p:sldLayoutId id="2147484122" r:id="rId37"/>
    <p:sldLayoutId id="2147484123" r:id="rId38"/>
    <p:sldLayoutId id="2147484124" r:id="rId39"/>
    <p:sldLayoutId id="2147484125" r:id="rId40"/>
    <p:sldLayoutId id="2147484126" r:id="rId41"/>
    <p:sldLayoutId id="2147484127" r:id="rId42"/>
    <p:sldLayoutId id="2147484128" r:id="rId43"/>
    <p:sldLayoutId id="2147484129" r:id="rId44"/>
    <p:sldLayoutId id="2147484130" r:id="rId45"/>
    <p:sldLayoutId id="2147484131" r:id="rId46"/>
    <p:sldLayoutId id="2147484132" r:id="rId47"/>
    <p:sldLayoutId id="2147484133" r:id="rId48"/>
    <p:sldLayoutId id="2147484134" r:id="rId49"/>
    <p:sldLayoutId id="2147484135" r:id="rId50"/>
    <p:sldLayoutId id="2147484136" r:id="rId51"/>
    <p:sldLayoutId id="2147484137" r:id="rId52"/>
    <p:sldLayoutId id="2147484138" r:id="rId53"/>
    <p:sldLayoutId id="2147484139" r:id="rId54"/>
    <p:sldLayoutId id="2147484140" r:id="rId55"/>
    <p:sldLayoutId id="2147484141" r:id="rId56"/>
    <p:sldLayoutId id="2147484142" r:id="rId57"/>
    <p:sldLayoutId id="2147484143" r:id="rId58"/>
    <p:sldLayoutId id="2147484144" r:id="rId59"/>
    <p:sldLayoutId id="2147484145" r:id="rId60"/>
    <p:sldLayoutId id="2147484146" r:id="rId61"/>
    <p:sldLayoutId id="2147484147" r:id="rId62"/>
    <p:sldLayoutId id="2147484148" r:id="rId63"/>
    <p:sldLayoutId id="2147484149" r:id="rId64"/>
    <p:sldLayoutId id="2147484150" r:id="rId65"/>
    <p:sldLayoutId id="2147484151" r:id="rId66"/>
    <p:sldLayoutId id="2147484152" r:id="rId67"/>
    <p:sldLayoutId id="2147484153" r:id="rId68"/>
    <p:sldLayoutId id="2147484154" r:id="rId69"/>
    <p:sldLayoutId id="2147484155" r:id="rId70"/>
    <p:sldLayoutId id="2147484156" r:id="rId71"/>
    <p:sldLayoutId id="2147484157" r:id="rId72"/>
    <p:sldLayoutId id="2147484158" r:id="rId73"/>
    <p:sldLayoutId id="2147484159" r:id="rId74"/>
    <p:sldLayoutId id="2147484160" r:id="rId75"/>
    <p:sldLayoutId id="2147484161" r:id="rId76"/>
    <p:sldLayoutId id="2147484162" r:id="rId77"/>
    <p:sldLayoutId id="2147484163" r:id="rId78"/>
    <p:sldLayoutId id="2147484164" r:id="rId79"/>
    <p:sldLayoutId id="2147484165" r:id="rId80"/>
    <p:sldLayoutId id="2147484166" r:id="rId81"/>
    <p:sldLayoutId id="2147484167" r:id="rId82"/>
    <p:sldLayoutId id="2147484168" r:id="rId83"/>
    <p:sldLayoutId id="2147484169" r:id="rId84"/>
    <p:sldLayoutId id="2147484170" r:id="rId85"/>
    <p:sldLayoutId id="2147484171" r:id="rId86"/>
    <p:sldLayoutId id="2147484172" r:id="rId87"/>
    <p:sldLayoutId id="2147484173" r:id="rId88"/>
    <p:sldLayoutId id="2147484174" r:id="rId89"/>
    <p:sldLayoutId id="2147484175" r:id="rId90"/>
    <p:sldLayoutId id="2147484176" r:id="rId91"/>
    <p:sldLayoutId id="2147484177" r:id="rId92"/>
    <p:sldLayoutId id="2147484178" r:id="rId93"/>
    <p:sldLayoutId id="2147484179" r:id="rId94"/>
    <p:sldLayoutId id="2147484180" r:id="rId95"/>
    <p:sldLayoutId id="2147484181" r:id="rId96"/>
    <p:sldLayoutId id="2147484182" r:id="rId97"/>
    <p:sldLayoutId id="2147484183" r:id="rId98"/>
    <p:sldLayoutId id="2147484184" r:id="rId99"/>
    <p:sldLayoutId id="2147484185" r:id="rId100"/>
    <p:sldLayoutId id="2147484186" r:id="rId10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tx2"/>
          </a:solidFill>
          <a:latin typeface="Amazon Ember Display" panose="020F0603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Arial" panose="020B0604020202020204" pitchFamily="34" charset="0"/>
        <a:buChar char="•"/>
        <a:defRPr sz="2800" kern="1200" baseline="0">
          <a:solidFill>
            <a:schemeClr val="tx2"/>
          </a:solidFill>
          <a:latin typeface="Amazon Ember Display" panose="020F0603020204020204" pitchFamily="34" charset="0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Wingdings" panose="05000000000000000000" pitchFamily="2" charset="2"/>
        <a:buChar char="§"/>
        <a:defRPr sz="2400" kern="1200" baseline="0">
          <a:solidFill>
            <a:schemeClr val="tx2"/>
          </a:solidFill>
          <a:latin typeface="Amazon Ember Display" panose="020F0603020204020204" pitchFamily="34" charset="0"/>
          <a:ea typeface="+mn-ea"/>
          <a:cs typeface="+mn-cs"/>
        </a:defRPr>
      </a:lvl2pPr>
      <a:lvl3pPr marL="8572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mazon Ember" panose="020B0603020204020204" pitchFamily="34" charset="0"/>
        <a:buChar char="–"/>
        <a:defRPr sz="2000" kern="1200" baseline="0">
          <a:solidFill>
            <a:schemeClr val="tx2"/>
          </a:solidFill>
          <a:latin typeface="Amazon Ember Display" panose="020F0603020204020204" pitchFamily="34" charset="0"/>
          <a:ea typeface="+mn-ea"/>
          <a:cs typeface="+mn-cs"/>
        </a:defRPr>
      </a:lvl3pPr>
      <a:lvl4pPr marL="103028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Amazon Ember Display" panose="020F0603020204020204" pitchFamily="34" charset="0"/>
          <a:ea typeface="+mn-ea"/>
          <a:cs typeface="+mn-cs"/>
        </a:defRPr>
      </a:lvl4pPr>
      <a:lvl5pPr marL="12017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Amazon Ember Display" panose="020F06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  <p15:guide id="3" orient="horz" pos="192">
          <p15:clr>
            <a:srgbClr val="F26B43"/>
          </p15:clr>
        </p15:guide>
        <p15:guide id="4" orient="horz" pos="3912">
          <p15:clr>
            <a:srgbClr val="F26B43"/>
          </p15:clr>
        </p15:guide>
        <p15:guide id="5" orient="horz" pos="1080">
          <p15:clr>
            <a:srgbClr val="F26B43"/>
          </p15:clr>
        </p15:guide>
        <p15:guide id="6" orient="horz" pos="5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hyperlink" Target="https://sbgrid.org/computing/sbcloud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2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linkedin.com/posts/douglas-selinger-9381801_jpm2024-ai-llms-activity-7150137840478142464-Ijmh?utm_source=share&amp;utm_medium=member_desktop" TargetMode="External"/><Relationship Id="rId5" Type="http://schemas.openxmlformats.org/officeDocument/2006/relationships/hyperlink" Target="https://www.linkedin.com/posts/douglas-selinger-9381801_ai-llms-dmd-activity-7183479987591622657-eK0s?utm_source=share&amp;utm_medium=member_desktop" TargetMode="External"/><Relationship Id="rId4" Type="http://schemas.openxmlformats.org/officeDocument/2006/relationships/image" Target="../media/image10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07.svg"/><Relationship Id="rId5" Type="http://schemas.openxmlformats.org/officeDocument/2006/relationships/image" Target="../media/image106.png"/><Relationship Id="rId4" Type="http://schemas.openxmlformats.org/officeDocument/2006/relationships/image" Target="../media/image10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Tarselli@amazon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4" Type="http://schemas.openxmlformats.org/officeDocument/2006/relationships/hyperlink" Target="mailto:arielsas@amazon.com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jpeg"/><Relationship Id="rId13" Type="http://schemas.openxmlformats.org/officeDocument/2006/relationships/image" Target="../media/image118.svg"/><Relationship Id="rId18" Type="http://schemas.openxmlformats.org/officeDocument/2006/relationships/image" Target="../media/image123.svg"/><Relationship Id="rId26" Type="http://schemas.openxmlformats.org/officeDocument/2006/relationships/image" Target="../media/image131.png"/><Relationship Id="rId3" Type="http://schemas.openxmlformats.org/officeDocument/2006/relationships/image" Target="../media/image108.png"/><Relationship Id="rId21" Type="http://schemas.openxmlformats.org/officeDocument/2006/relationships/image" Target="../media/image126.png"/><Relationship Id="rId7" Type="http://schemas.openxmlformats.org/officeDocument/2006/relationships/image" Target="../media/image112.png"/><Relationship Id="rId12" Type="http://schemas.openxmlformats.org/officeDocument/2006/relationships/image" Target="../media/image117.png"/><Relationship Id="rId17" Type="http://schemas.openxmlformats.org/officeDocument/2006/relationships/image" Target="../media/image122.png"/><Relationship Id="rId25" Type="http://schemas.openxmlformats.org/officeDocument/2006/relationships/image" Target="../media/image13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21.svg"/><Relationship Id="rId20" Type="http://schemas.openxmlformats.org/officeDocument/2006/relationships/image" Target="../media/image125.svg"/><Relationship Id="rId29" Type="http://schemas.openxmlformats.org/officeDocument/2006/relationships/image" Target="../media/image134.pn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111.svg"/><Relationship Id="rId11" Type="http://schemas.openxmlformats.org/officeDocument/2006/relationships/image" Target="../media/image116.svg"/><Relationship Id="rId24" Type="http://schemas.openxmlformats.org/officeDocument/2006/relationships/image" Target="../media/image129.png"/><Relationship Id="rId5" Type="http://schemas.openxmlformats.org/officeDocument/2006/relationships/image" Target="../media/image110.png"/><Relationship Id="rId15" Type="http://schemas.openxmlformats.org/officeDocument/2006/relationships/image" Target="../media/image120.png"/><Relationship Id="rId23" Type="http://schemas.openxmlformats.org/officeDocument/2006/relationships/image" Target="../media/image128.png"/><Relationship Id="rId28" Type="http://schemas.openxmlformats.org/officeDocument/2006/relationships/image" Target="../media/image133.png"/><Relationship Id="rId10" Type="http://schemas.openxmlformats.org/officeDocument/2006/relationships/image" Target="../media/image115.png"/><Relationship Id="rId19" Type="http://schemas.openxmlformats.org/officeDocument/2006/relationships/image" Target="../media/image124.png"/><Relationship Id="rId4" Type="http://schemas.openxmlformats.org/officeDocument/2006/relationships/image" Target="../media/image109.svg"/><Relationship Id="rId9" Type="http://schemas.openxmlformats.org/officeDocument/2006/relationships/image" Target="../media/image114.png"/><Relationship Id="rId14" Type="http://schemas.openxmlformats.org/officeDocument/2006/relationships/image" Target="../media/image119.png"/><Relationship Id="rId22" Type="http://schemas.openxmlformats.org/officeDocument/2006/relationships/image" Target="../media/image127.svg"/><Relationship Id="rId27" Type="http://schemas.openxmlformats.org/officeDocument/2006/relationships/image" Target="../media/image132.svg"/><Relationship Id="rId30" Type="http://schemas.openxmlformats.org/officeDocument/2006/relationships/image" Target="../media/image13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nova.amazon.com/" TargetMode="Externa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ycP6vI2jspo" TargetMode="External"/><Relationship Id="rId13" Type="http://schemas.openxmlformats.org/officeDocument/2006/relationships/image" Target="../media/image88.png"/><Relationship Id="rId18" Type="http://schemas.openxmlformats.org/officeDocument/2006/relationships/hyperlink" Target="https://www.youtube.com/watch?v=8EG3mqijKL4" TargetMode="External"/><Relationship Id="rId3" Type="http://schemas.openxmlformats.org/officeDocument/2006/relationships/hyperlink" Target="https://aws.amazon.com/solutions/case-studies/astrazeneca/" TargetMode="External"/><Relationship Id="rId7" Type="http://schemas.openxmlformats.org/officeDocument/2006/relationships/hyperlink" Target="https://aws.amazon.com/solutions/case-studies/vertex-case-study/" TargetMode="External"/><Relationship Id="rId12" Type="http://schemas.openxmlformats.org/officeDocument/2006/relationships/image" Target="../media/image87.png"/><Relationship Id="rId17" Type="http://schemas.openxmlformats.org/officeDocument/2006/relationships/image" Target="../media/image92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91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ress.aboutamazon.com/aws/2024/6/evolutionaryscale-launches-with-esm3-a-milestone-ai-model-for-biology" TargetMode="External"/><Relationship Id="rId11" Type="http://schemas.openxmlformats.org/officeDocument/2006/relationships/image" Target="../media/image86.png"/><Relationship Id="rId5" Type="http://schemas.openxmlformats.org/officeDocument/2006/relationships/hyperlink" Target="https://aws.amazon.com/solutions/case-studies/a-alpha-bio-case-study/" TargetMode="External"/><Relationship Id="rId15" Type="http://schemas.openxmlformats.org/officeDocument/2006/relationships/image" Target="../media/image90.png"/><Relationship Id="rId10" Type="http://schemas.openxmlformats.org/officeDocument/2006/relationships/image" Target="../media/image85.png"/><Relationship Id="rId19" Type="http://schemas.openxmlformats.org/officeDocument/2006/relationships/hyperlink" Target="https://aws.amazon.com/solutions/case-studies/23andMe-case-study/" TargetMode="External"/><Relationship Id="rId4" Type="http://schemas.openxmlformats.org/officeDocument/2006/relationships/hyperlink" Target="https://aws.amazon.com/solutions/case-studies/roche-healthomics-case-study/" TargetMode="External"/><Relationship Id="rId9" Type="http://schemas.openxmlformats.org/officeDocument/2006/relationships/image" Target="../media/image84.png"/><Relationship Id="rId14" Type="http://schemas.openxmlformats.org/officeDocument/2006/relationships/image" Target="../media/image8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sv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5.xml"/><Relationship Id="rId1" Type="http://schemas.openxmlformats.org/officeDocument/2006/relationships/tags" Target="../tags/tag15.xml"/><Relationship Id="rId5" Type="http://schemas.openxmlformats.org/officeDocument/2006/relationships/image" Target="../media/image96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CCF696-7EC5-4203-B3FA-EED1F676B8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378" y="2782669"/>
            <a:ext cx="11887201" cy="646331"/>
          </a:xfrm>
        </p:spPr>
        <p:txBody>
          <a:bodyPr/>
          <a:lstStyle/>
          <a:p>
            <a:r>
              <a:rPr lang="en-US" sz="4000" b="0" dirty="0">
                <a:latin typeface="+mn-lt"/>
              </a:rPr>
              <a:t>Cloud: Enabling Scienc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EA0D6F9-FE52-759C-D3D1-7A770C8F1F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8" y="4349712"/>
            <a:ext cx="3797302" cy="1200329"/>
          </a:xfrm>
        </p:spPr>
        <p:txBody>
          <a:bodyPr/>
          <a:lstStyle/>
          <a:p>
            <a:r>
              <a:rPr lang="en-US" dirty="0"/>
              <a:t>Stephen Litster, Ph.D.</a:t>
            </a:r>
          </a:p>
          <a:p>
            <a:r>
              <a:rPr lang="en-US" dirty="0"/>
              <a:t>Mike Tarselli, Ph.D., MBA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99263B9-081C-2CC6-304B-3D6A78065A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8" y="5342752"/>
            <a:ext cx="3797302" cy="574003"/>
          </a:xfrm>
        </p:spPr>
        <p:txBody>
          <a:bodyPr/>
          <a:lstStyle/>
          <a:p>
            <a:r>
              <a:rPr lang="en-US" dirty="0"/>
              <a:t>Specialist Leaders – HCLS Data &amp; AI</a:t>
            </a:r>
          </a:p>
          <a:p>
            <a:r>
              <a:rPr lang="en-US" dirty="0"/>
              <a:t>Amazon Web Services</a:t>
            </a:r>
          </a:p>
        </p:txBody>
      </p:sp>
    </p:spTree>
    <p:extLst>
      <p:ext uri="{BB962C8B-B14F-4D97-AF65-F5344CB8AC3E}">
        <p14:creationId xmlns:p14="http://schemas.microsoft.com/office/powerpoint/2010/main" val="326211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B6ED8-A507-E86A-A811-8376358DB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47700"/>
            <a:ext cx="10972800" cy="535531"/>
          </a:xfrm>
        </p:spPr>
        <p:txBody>
          <a:bodyPr/>
          <a:lstStyle/>
          <a:p>
            <a:r>
              <a:rPr lang="en-US" dirty="0"/>
              <a:t>Enabling Technologies: SBClou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4125A-30A4-E06D-B6F9-573596715C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378DAA-26DB-5C0E-2F21-E8DD08C4EB7A}"/>
              </a:ext>
            </a:extLst>
          </p:cNvPr>
          <p:cNvSpPr txBox="1"/>
          <p:nvPr/>
        </p:nvSpPr>
        <p:spPr>
          <a:xfrm>
            <a:off x="4145280" y="6210300"/>
            <a:ext cx="5925312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dirty="0"/>
              <a:t>For context, please see: </a:t>
            </a:r>
            <a:r>
              <a:rPr lang="en-US" dirty="0">
                <a:hlinkClick r:id="rId2"/>
              </a:rPr>
              <a:t>SBGrid Consortiu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629403-458D-2BFC-6774-6CFB1B39A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" y="1847128"/>
            <a:ext cx="7772400" cy="31637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8818C4-06D9-819A-C27E-B450BCF574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48700" y="2136648"/>
            <a:ext cx="2933700" cy="21971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5B7C06A-C8F1-3B75-AE7F-2CAFE16981C5}"/>
              </a:ext>
            </a:extLst>
          </p:cNvPr>
          <p:cNvSpPr txBox="1"/>
          <p:nvPr/>
        </p:nvSpPr>
        <p:spPr>
          <a:xfrm>
            <a:off x="8839200" y="4665329"/>
            <a:ext cx="274320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l"/>
            <a:r>
              <a:rPr lang="en-US" sz="1400" dirty="0"/>
              <a:t>Credit: Bill Clemons, CalTech</a:t>
            </a:r>
          </a:p>
        </p:txBody>
      </p:sp>
    </p:spTree>
    <p:extLst>
      <p:ext uri="{BB962C8B-B14F-4D97-AF65-F5344CB8AC3E}">
        <p14:creationId xmlns:p14="http://schemas.microsoft.com/office/powerpoint/2010/main" val="45650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F3982-830C-EECD-C3A9-E2CCEA361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326" y="305066"/>
            <a:ext cx="10972800" cy="535531"/>
          </a:xfrm>
        </p:spPr>
        <p:txBody>
          <a:bodyPr>
            <a:normAutofit/>
          </a:bodyPr>
          <a:lstStyle/>
          <a:p>
            <a:r>
              <a:rPr lang="en-US" dirty="0"/>
              <a:t>Enabling Technologies: Plex Resear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3F6C8-841A-B96A-C588-1F879DB7F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5E5CE9-090D-4DD4-98F5-CD957F682403}" type="slidenum">
              <a:rPr lang="en-US" smtClean="0"/>
              <a:t>11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4EA2F8-C0E5-85B9-EBB5-09E18A98DF20}"/>
              </a:ext>
            </a:extLst>
          </p:cNvPr>
          <p:cNvSpPr txBox="1"/>
          <p:nvPr/>
        </p:nvSpPr>
        <p:spPr>
          <a:xfrm>
            <a:off x="256486" y="1247459"/>
            <a:ext cx="518182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Outperforms leading LLMs on key drug discovery tasks includ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Gene signature analys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baseline="30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baseline="30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baseline="30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Target ID based on chemical stru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baseline="30000" dirty="0"/>
          </a:p>
          <a:p>
            <a:pPr lvl="1"/>
            <a:endParaRPr lang="en-US" sz="2400" baseline="30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400" baseline="30000" dirty="0"/>
          </a:p>
          <a:p>
            <a:endParaRPr lang="en-US" sz="24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819266A-7D9C-8E5E-8B5F-DA26EA2B004C}"/>
              </a:ext>
            </a:extLst>
          </p:cNvPr>
          <p:cNvGrpSpPr/>
          <p:nvPr/>
        </p:nvGrpSpPr>
        <p:grpSpPr>
          <a:xfrm>
            <a:off x="5823727" y="3053303"/>
            <a:ext cx="6214766" cy="1046997"/>
            <a:chOff x="237936" y="3041673"/>
            <a:chExt cx="6214766" cy="104699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B086375-621B-063C-EAD0-A080705D1F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0412" r="8745"/>
            <a:stretch/>
          </p:blipFill>
          <p:spPr>
            <a:xfrm>
              <a:off x="237936" y="3041673"/>
              <a:ext cx="6214766" cy="1046997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FD57480-75C2-BB4F-BB1B-32371630E355}"/>
                </a:ext>
              </a:extLst>
            </p:cNvPr>
            <p:cNvSpPr/>
            <p:nvPr/>
          </p:nvSpPr>
          <p:spPr>
            <a:xfrm>
              <a:off x="6267172" y="3137837"/>
              <a:ext cx="178904" cy="183469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9B1A9F-9BB2-23A5-3203-7CFA8A86E9FC}"/>
              </a:ext>
            </a:extLst>
          </p:cNvPr>
          <p:cNvGrpSpPr/>
          <p:nvPr/>
        </p:nvGrpSpPr>
        <p:grpSpPr>
          <a:xfrm>
            <a:off x="5823727" y="1614965"/>
            <a:ext cx="6214766" cy="1295588"/>
            <a:chOff x="237936" y="1603335"/>
            <a:chExt cx="6214766" cy="12955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164C585-A487-697C-A449-0C89ADAFA9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6712" r="4649" b="21451"/>
            <a:stretch/>
          </p:blipFill>
          <p:spPr>
            <a:xfrm>
              <a:off x="237936" y="1603335"/>
              <a:ext cx="6214766" cy="1295588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58C7F71-3FE1-BBA8-9270-C2EF31CF57F8}"/>
                </a:ext>
              </a:extLst>
            </p:cNvPr>
            <p:cNvSpPr/>
            <p:nvPr/>
          </p:nvSpPr>
          <p:spPr>
            <a:xfrm>
              <a:off x="5846416" y="1714243"/>
              <a:ext cx="598554" cy="298709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6" name="Picture 25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7F6D2CA5-AAC3-5973-7495-B1D8926F82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2" t="2447" r="707" b="5918"/>
          <a:stretch/>
        </p:blipFill>
        <p:spPr>
          <a:xfrm>
            <a:off x="5823726" y="4243392"/>
            <a:ext cx="6207035" cy="136714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F90D42C-F640-035B-4025-8D67BE0B55C8}"/>
              </a:ext>
            </a:extLst>
          </p:cNvPr>
          <p:cNvSpPr txBox="1"/>
          <p:nvPr/>
        </p:nvSpPr>
        <p:spPr>
          <a:xfrm>
            <a:off x="4128873" y="6099857"/>
            <a:ext cx="59234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ore details, including testimonials and head-to-head comparisons:</a:t>
            </a:r>
          </a:p>
          <a:p>
            <a:pPr algn="ctr"/>
            <a:r>
              <a:rPr lang="en-US" sz="1400" dirty="0">
                <a:hlinkClick r:id="rId5"/>
              </a:rPr>
              <a:t>Gene Signature Characterization</a:t>
            </a:r>
            <a:r>
              <a:rPr lang="en-US" sz="1400" dirty="0"/>
              <a:t> | </a:t>
            </a:r>
            <a:r>
              <a:rPr lang="en-US" sz="1400" dirty="0">
                <a:hlinkClick r:id="rId6"/>
              </a:rPr>
              <a:t>Chemical structure-based target prediction</a:t>
            </a:r>
            <a:endParaRPr lang="en-US" sz="1400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621761C-02F1-E64C-D207-25223276AC1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706"/>
          <a:stretch/>
        </p:blipFill>
        <p:spPr>
          <a:xfrm>
            <a:off x="1009161" y="2614601"/>
            <a:ext cx="1838239" cy="92165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EC54415-EDB4-6867-FD20-9772CEBBB6EB}"/>
              </a:ext>
            </a:extLst>
          </p:cNvPr>
          <p:cNvSpPr txBox="1"/>
          <p:nvPr/>
        </p:nvSpPr>
        <p:spPr>
          <a:xfrm>
            <a:off x="1665741" y="4859146"/>
            <a:ext cx="2560601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 Nova" panose="020F0502020204030204" pitchFamily="34" charset="0"/>
              </a:rPr>
              <a:t>Molecular target &amp; Mechanism of Action (MoA)</a:t>
            </a:r>
          </a:p>
        </p:txBody>
      </p:sp>
      <p:sp>
        <p:nvSpPr>
          <p:cNvPr id="34" name="Google Shape;293;g2758ebfa06b_0_37">
            <a:extLst>
              <a:ext uri="{FF2B5EF4-FFF2-40B4-BE49-F238E27FC236}">
                <a16:creationId xmlns:a16="http://schemas.microsoft.com/office/drawing/2014/main" id="{EAC91EF6-FC1E-4708-11A0-0AA1D9880B16}"/>
              </a:ext>
            </a:extLst>
          </p:cNvPr>
          <p:cNvSpPr/>
          <p:nvPr/>
        </p:nvSpPr>
        <p:spPr>
          <a:xfrm>
            <a:off x="3003437" y="2981690"/>
            <a:ext cx="320925" cy="25951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BFBFBF"/>
          </a:solidFill>
          <a:ln w="12700" cap="flat" cmpd="sng">
            <a:solidFill>
              <a:srgbClr val="1F2B4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795427-1B63-47B0-CF87-4C3131AA6BE1}"/>
              </a:ext>
            </a:extLst>
          </p:cNvPr>
          <p:cNvSpPr txBox="1"/>
          <p:nvPr/>
        </p:nvSpPr>
        <p:spPr>
          <a:xfrm>
            <a:off x="3438663" y="2576249"/>
            <a:ext cx="2136308" cy="9541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 Nova" panose="020F0502020204030204" pitchFamily="34" charset="0"/>
              </a:rPr>
              <a:t>Detailed characterization of disease processes &amp; putative modulators</a:t>
            </a:r>
          </a:p>
        </p:txBody>
      </p:sp>
    </p:spTree>
    <p:extLst>
      <p:ext uri="{BB962C8B-B14F-4D97-AF65-F5344CB8AC3E}">
        <p14:creationId xmlns:p14="http://schemas.microsoft.com/office/powerpoint/2010/main" val="13667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D8DA85D-8BC4-7363-E0DF-002BB9085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azon Services to Build AI (or GenAI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3A6E92-2F23-7B7A-7084-3035E92310D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289675"/>
            <a:ext cx="2743200" cy="365125"/>
          </a:xfrm>
        </p:spPr>
        <p:txBody>
          <a:bodyPr/>
          <a:lstStyle/>
          <a:p>
            <a:fld id="{EB4B8DE2-A4E8-46E4-8BBF-D75455EFF32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C994CF-5350-C748-8ACF-76EB6D263B21}"/>
              </a:ext>
            </a:extLst>
          </p:cNvPr>
          <p:cNvSpPr txBox="1"/>
          <p:nvPr/>
        </p:nvSpPr>
        <p:spPr>
          <a:xfrm flipH="1">
            <a:off x="1653738" y="3740442"/>
            <a:ext cx="1774866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azon Q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F777A0-565B-3D0E-40D3-B43A8E63FB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282" y="2016369"/>
            <a:ext cx="1625779" cy="16257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18EEE41-1BA1-DEE5-4A98-1B22539F3196}"/>
              </a:ext>
            </a:extLst>
          </p:cNvPr>
          <p:cNvSpPr txBox="1"/>
          <p:nvPr/>
        </p:nvSpPr>
        <p:spPr>
          <a:xfrm>
            <a:off x="4358691" y="3758041"/>
            <a:ext cx="288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ea typeface="Amazon Ember" panose="020B0603020204020204" pitchFamily="34" charset="0"/>
                <a:cs typeface="Amazon Ember" panose="020B0603020204020204" pitchFamily="34" charset="0"/>
              </a:rPr>
              <a:t>Amazon Bedrock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2E81FED-AFC2-9939-B14D-D1D4ABBC735C}"/>
              </a:ext>
            </a:extLst>
          </p:cNvPr>
          <p:cNvGrpSpPr/>
          <p:nvPr/>
        </p:nvGrpSpPr>
        <p:grpSpPr>
          <a:xfrm>
            <a:off x="5223051" y="2259252"/>
            <a:ext cx="1154011" cy="1140012"/>
            <a:chOff x="5386374" y="2465271"/>
            <a:chExt cx="966076" cy="95435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F7680B9-95F6-22BE-0896-A02312EE0219}"/>
                </a:ext>
              </a:extLst>
            </p:cNvPr>
            <p:cNvSpPr/>
            <p:nvPr/>
          </p:nvSpPr>
          <p:spPr>
            <a:xfrm>
              <a:off x="5386374" y="2465271"/>
              <a:ext cx="966076" cy="954357"/>
            </a:xfrm>
            <a:prstGeom prst="rect">
              <a:avLst/>
            </a:prstGeom>
            <a:solidFill>
              <a:schemeClr val="accent5"/>
            </a:solidFill>
            <a:ln w="19050" cap="rnd">
              <a:noFill/>
              <a:round/>
            </a:ln>
            <a:effectLst>
              <a:outerShdw blurRad="88900" dist="38100" dir="2700000" algn="tl" rotWithShape="0">
                <a:prstClr val="black">
                  <a:alpha val="3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5720" tIns="45720" rIns="4572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A7882789-BA4C-2C58-27B4-4F600210BC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15737" y="2575172"/>
              <a:ext cx="707350" cy="734555"/>
            </a:xfrm>
            <a:prstGeom prst="rect">
              <a:avLst/>
            </a:prstGeom>
          </p:spPr>
        </p:pic>
      </p:grpSp>
      <p:pic>
        <p:nvPicPr>
          <p:cNvPr id="11" name="Graphic 22" descr="Amazon SageMaker service icon.">
            <a:extLst>
              <a:ext uri="{FF2B5EF4-FFF2-40B4-BE49-F238E27FC236}">
                <a16:creationId xmlns:a16="http://schemas.microsoft.com/office/drawing/2014/main" id="{DD14D5A8-306C-09F4-4C96-F6737F338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8517601" y="2173004"/>
            <a:ext cx="1279267" cy="1279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9342AF-922E-9BD1-8659-84121C1D9E50}"/>
              </a:ext>
            </a:extLst>
          </p:cNvPr>
          <p:cNvSpPr txBox="1"/>
          <p:nvPr/>
        </p:nvSpPr>
        <p:spPr>
          <a:xfrm>
            <a:off x="7655530" y="3740442"/>
            <a:ext cx="288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ea typeface="Amazon Ember" panose="020B0603020204020204" pitchFamily="34" charset="0"/>
                <a:cs typeface="Amazon Ember" panose="020B0603020204020204" pitchFamily="34" charset="0"/>
              </a:rPr>
              <a:t>Amazon SageMaker</a:t>
            </a:r>
          </a:p>
        </p:txBody>
      </p:sp>
    </p:spTree>
    <p:extLst>
      <p:ext uri="{BB962C8B-B14F-4D97-AF65-F5344CB8AC3E}">
        <p14:creationId xmlns:p14="http://schemas.microsoft.com/office/powerpoint/2010/main" val="80624888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D1E8D-22EC-EF95-A8DE-AA432071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0EB59D-27B2-8D76-2E90-605E14B0B6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8500" y="3582240"/>
            <a:ext cx="1994088" cy="369332"/>
          </a:xfrm>
        </p:spPr>
        <p:txBody>
          <a:bodyPr/>
          <a:lstStyle/>
          <a:p>
            <a:r>
              <a:rPr lang="en-US" dirty="0"/>
              <a:t>Mike Tarselli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2C4A63-A7BA-6B14-440F-EA15520F7F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8500" y="4074759"/>
            <a:ext cx="3027458" cy="612475"/>
          </a:xfrm>
        </p:spPr>
        <p:txBody>
          <a:bodyPr/>
          <a:lstStyle/>
          <a:p>
            <a:r>
              <a:rPr lang="en-US" dirty="0">
                <a:hlinkClick r:id="rId3"/>
              </a:rPr>
              <a:t>Tarselli@amazon.com</a:t>
            </a:r>
            <a:endParaRPr lang="en-US" dirty="0"/>
          </a:p>
          <a:p>
            <a:endParaRPr lang="en-US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A65434FE-8B5A-25F6-3AA3-C2C203337181}"/>
              </a:ext>
            </a:extLst>
          </p:cNvPr>
          <p:cNvSpPr txBox="1">
            <a:spLocks/>
          </p:cNvSpPr>
          <p:nvPr/>
        </p:nvSpPr>
        <p:spPr>
          <a:xfrm>
            <a:off x="609600" y="3621643"/>
            <a:ext cx="1994088" cy="3693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SzPct val="90000"/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SzPct val="90000"/>
              <a:buFont typeface="Wingdings" panose="05000000000000000000" pitchFamily="2" charset="2"/>
              <a:buChar char="§"/>
              <a:defRPr sz="24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2pPr>
            <a:lvl3pPr marL="8572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mazon Ember" panose="020B0603020204020204" pitchFamily="34" charset="0"/>
              <a:buChar char="–"/>
              <a:defRPr sz="20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3pPr>
            <a:lvl4pPr marL="103028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4pPr>
            <a:lvl5pPr marL="12017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ephen Litster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A507B71-08A0-6136-EE36-F666170DF32D}"/>
              </a:ext>
            </a:extLst>
          </p:cNvPr>
          <p:cNvSpPr txBox="1">
            <a:spLocks/>
          </p:cNvSpPr>
          <p:nvPr/>
        </p:nvSpPr>
        <p:spPr>
          <a:xfrm>
            <a:off x="609600" y="4074760"/>
            <a:ext cx="3027458" cy="612475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SzPct val="90000"/>
              <a:buFont typeface="Wingdings" panose="05000000000000000000" pitchFamily="2" charset="2"/>
              <a:buChar char="§"/>
              <a:defRPr sz="24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2pPr>
            <a:lvl3pPr marL="8572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mazon Ember" panose="020B0603020204020204" pitchFamily="34" charset="0"/>
              <a:buChar char="–"/>
              <a:defRPr sz="20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3pPr>
            <a:lvl4pPr marL="103028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4pPr>
            <a:lvl5pPr marL="12017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4"/>
              </a:rPr>
              <a:t>slitster@amazon.co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72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0CEBE4-7EF8-898E-6867-C076C6EB5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75489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D8490E-0E85-4B82-9B98-58260227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62" y="356855"/>
            <a:ext cx="11619601" cy="1325563"/>
          </a:xfrm>
        </p:spPr>
        <p:txBody>
          <a:bodyPr>
            <a:normAutofit/>
          </a:bodyPr>
          <a:lstStyle/>
          <a:p>
            <a:r>
              <a:rPr lang="en-US" sz="2800" dirty="0"/>
              <a:t>GenAI Innovation &amp; Operational Excellence across the value chain</a:t>
            </a:r>
            <a:endParaRPr lang="en-US" sz="28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80F0BE0D-ECD4-4AF2-9B35-9FA7BD5FB939}"/>
              </a:ext>
            </a:extLst>
          </p:cNvPr>
          <p:cNvSpPr txBox="1">
            <a:spLocks/>
          </p:cNvSpPr>
          <p:nvPr/>
        </p:nvSpPr>
        <p:spPr>
          <a:xfrm>
            <a:off x="-140826" y="57516"/>
            <a:ext cx="12473652" cy="478622"/>
          </a:xfrm>
          <a:prstGeom prst="rect">
            <a:avLst/>
          </a:prstGeom>
        </p:spPr>
        <p:txBody>
          <a:bodyPr vert="horz" lIns="0" tIns="27093" rIns="0" bIns="27093" rtlCol="0" anchor="t">
            <a:noAutofit/>
          </a:bodyPr>
          <a:lstStyle>
            <a:lvl1pPr algn="l" defTabSz="91441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AA2D184-C228-4E36-B856-63647F20BE72}"/>
              </a:ext>
            </a:extLst>
          </p:cNvPr>
          <p:cNvCxnSpPr>
            <a:cxnSpLocks/>
          </p:cNvCxnSpPr>
          <p:nvPr/>
        </p:nvCxnSpPr>
        <p:spPr>
          <a:xfrm>
            <a:off x="37406" y="2537550"/>
            <a:ext cx="12177528" cy="39100"/>
          </a:xfrm>
          <a:prstGeom prst="line">
            <a:avLst/>
          </a:prstGeom>
          <a:noFill/>
          <a:ln w="38100" cap="rnd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</p:cxnSp>
      <p:grpSp>
        <p:nvGrpSpPr>
          <p:cNvPr id="6" name="Graphic 17">
            <a:extLst>
              <a:ext uri="{FF2B5EF4-FFF2-40B4-BE49-F238E27FC236}">
                <a16:creationId xmlns:a16="http://schemas.microsoft.com/office/drawing/2014/main" id="{1279EE79-15CF-4CE9-88BA-B73E799EBAB5}"/>
              </a:ext>
            </a:extLst>
          </p:cNvPr>
          <p:cNvGrpSpPr/>
          <p:nvPr/>
        </p:nvGrpSpPr>
        <p:grpSpPr>
          <a:xfrm>
            <a:off x="3033604" y="1138559"/>
            <a:ext cx="877579" cy="1336248"/>
            <a:chOff x="5776912" y="2924138"/>
            <a:chExt cx="628650" cy="1000125"/>
          </a:xfrm>
          <a:solidFill>
            <a:schemeClr val="accent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AE710C9-048A-4B9F-8C0E-ED619460D549}"/>
                </a:ext>
              </a:extLst>
            </p:cNvPr>
            <p:cNvSpPr/>
            <p:nvPr/>
          </p:nvSpPr>
          <p:spPr>
            <a:xfrm>
              <a:off x="5776912" y="3052763"/>
              <a:ext cx="400050" cy="723900"/>
            </a:xfrm>
            <a:custGeom>
              <a:avLst/>
              <a:gdLst>
                <a:gd name="connsiteX0" fmla="*/ 404527 w 400050"/>
                <a:gd name="connsiteY0" fmla="*/ 726758 h 723900"/>
                <a:gd name="connsiteX1" fmla="*/ 0 w 400050"/>
                <a:gd name="connsiteY1" fmla="*/ 726758 h 723900"/>
                <a:gd name="connsiteX2" fmla="*/ 0 w 400050"/>
                <a:gd name="connsiteY2" fmla="*/ 0 h 723900"/>
                <a:gd name="connsiteX3" fmla="*/ 100108 w 400050"/>
                <a:gd name="connsiteY3" fmla="*/ 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0" h="723900">
                  <a:moveTo>
                    <a:pt x="404527" y="726758"/>
                  </a:moveTo>
                  <a:lnTo>
                    <a:pt x="0" y="726758"/>
                  </a:lnTo>
                  <a:lnTo>
                    <a:pt x="0" y="0"/>
                  </a:lnTo>
                  <a:lnTo>
                    <a:pt x="100108" y="0"/>
                  </a:ln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08EF719-C439-4477-AC20-E160FBD19FCE}"/>
                </a:ext>
              </a:extLst>
            </p:cNvPr>
            <p:cNvSpPr/>
            <p:nvPr/>
          </p:nvSpPr>
          <p:spPr>
            <a:xfrm>
              <a:off x="6314312" y="3052763"/>
              <a:ext cx="95250" cy="723900"/>
            </a:xfrm>
            <a:custGeom>
              <a:avLst/>
              <a:gdLst>
                <a:gd name="connsiteX0" fmla="*/ 0 w 95250"/>
                <a:gd name="connsiteY0" fmla="*/ 0 h 723900"/>
                <a:gd name="connsiteX1" fmla="*/ 99917 w 95250"/>
                <a:gd name="connsiteY1" fmla="*/ 0 h 723900"/>
                <a:gd name="connsiteX2" fmla="*/ 99917 w 95250"/>
                <a:gd name="connsiteY2" fmla="*/ 726758 h 723900"/>
                <a:gd name="connsiteX3" fmla="*/ 67437 w 95250"/>
                <a:gd name="connsiteY3" fmla="*/ 726758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723900">
                  <a:moveTo>
                    <a:pt x="0" y="0"/>
                  </a:moveTo>
                  <a:lnTo>
                    <a:pt x="99917" y="0"/>
                  </a:lnTo>
                  <a:lnTo>
                    <a:pt x="99917" y="726758"/>
                  </a:lnTo>
                  <a:lnTo>
                    <a:pt x="67437" y="726758"/>
                  </a:ln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F868223-06C9-4A9C-B9F2-F491BF658AE6}"/>
                </a:ext>
              </a:extLst>
            </p:cNvPr>
            <p:cNvSpPr/>
            <p:nvPr/>
          </p:nvSpPr>
          <p:spPr>
            <a:xfrm>
              <a:off x="5911691" y="2924138"/>
              <a:ext cx="361950" cy="161925"/>
            </a:xfrm>
            <a:custGeom>
              <a:avLst/>
              <a:gdLst>
                <a:gd name="connsiteX0" fmla="*/ 232696 w 361950"/>
                <a:gd name="connsiteY0" fmla="*/ 78332 h 161925"/>
                <a:gd name="connsiteX1" fmla="*/ 232696 w 361950"/>
                <a:gd name="connsiteY1" fmla="*/ 50900 h 161925"/>
                <a:gd name="connsiteX2" fmla="*/ 188690 w 361950"/>
                <a:gd name="connsiteY2" fmla="*/ 227 h 161925"/>
                <a:gd name="connsiteX3" fmla="*/ 135160 w 361950"/>
                <a:gd name="connsiteY3" fmla="*/ 48805 h 161925"/>
                <a:gd name="connsiteX4" fmla="*/ 135160 w 361950"/>
                <a:gd name="connsiteY4" fmla="*/ 78332 h 161925"/>
                <a:gd name="connsiteX5" fmla="*/ 48863 w 361950"/>
                <a:gd name="connsiteY5" fmla="*/ 78332 h 161925"/>
                <a:gd name="connsiteX6" fmla="*/ 0 w 361950"/>
                <a:gd name="connsiteY6" fmla="*/ 127196 h 161925"/>
                <a:gd name="connsiteX7" fmla="*/ 0 w 361950"/>
                <a:gd name="connsiteY7" fmla="*/ 167867 h 161925"/>
                <a:gd name="connsiteX8" fmla="*/ 367760 w 361950"/>
                <a:gd name="connsiteY8" fmla="*/ 167867 h 161925"/>
                <a:gd name="connsiteX9" fmla="*/ 367760 w 361950"/>
                <a:gd name="connsiteY9" fmla="*/ 127196 h 161925"/>
                <a:gd name="connsiteX10" fmla="*/ 318897 w 361950"/>
                <a:gd name="connsiteY10" fmla="*/ 78332 h 161925"/>
                <a:gd name="connsiteX11" fmla="*/ 232696 w 361950"/>
                <a:gd name="connsiteY11" fmla="*/ 78332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950" h="161925">
                  <a:moveTo>
                    <a:pt x="232696" y="78332"/>
                  </a:moveTo>
                  <a:lnTo>
                    <a:pt x="232696" y="50900"/>
                  </a:lnTo>
                  <a:cubicBezTo>
                    <a:pt x="232696" y="25469"/>
                    <a:pt x="214122" y="2704"/>
                    <a:pt x="188690" y="227"/>
                  </a:cubicBezTo>
                  <a:cubicBezTo>
                    <a:pt x="159639" y="-2535"/>
                    <a:pt x="135160" y="20230"/>
                    <a:pt x="135160" y="48805"/>
                  </a:cubicBezTo>
                  <a:lnTo>
                    <a:pt x="135160" y="78332"/>
                  </a:lnTo>
                  <a:lnTo>
                    <a:pt x="48863" y="78332"/>
                  </a:lnTo>
                  <a:cubicBezTo>
                    <a:pt x="21908" y="78332"/>
                    <a:pt x="0" y="100145"/>
                    <a:pt x="0" y="127196"/>
                  </a:cubicBezTo>
                  <a:lnTo>
                    <a:pt x="0" y="167867"/>
                  </a:lnTo>
                  <a:lnTo>
                    <a:pt x="367760" y="167867"/>
                  </a:lnTo>
                  <a:lnTo>
                    <a:pt x="367760" y="127196"/>
                  </a:lnTo>
                  <a:cubicBezTo>
                    <a:pt x="367760" y="100240"/>
                    <a:pt x="345948" y="78332"/>
                    <a:pt x="318897" y="78332"/>
                  </a:cubicBezTo>
                  <a:lnTo>
                    <a:pt x="232696" y="78332"/>
                  </a:lnTo>
                  <a:close/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1415302-04A1-4497-BFAA-A9EA14B00B48}"/>
                </a:ext>
              </a:extLst>
            </p:cNvPr>
            <p:cNvSpPr/>
            <p:nvPr/>
          </p:nvSpPr>
          <p:spPr>
            <a:xfrm>
              <a:off x="6082117" y="2960465"/>
              <a:ext cx="19050" cy="28575"/>
            </a:xfrm>
            <a:custGeom>
              <a:avLst/>
              <a:gdLst>
                <a:gd name="connsiteX0" fmla="*/ 13787 w 19050"/>
                <a:gd name="connsiteY0" fmla="*/ 28575 h 28575"/>
                <a:gd name="connsiteX1" fmla="*/ 13787 w 19050"/>
                <a:gd name="connsiteY1" fmla="*/ 0 h 28575"/>
                <a:gd name="connsiteX2" fmla="*/ 13787 w 19050"/>
                <a:gd name="connsiteY2" fmla="*/ 28575 h 28575"/>
                <a:gd name="connsiteX3" fmla="*/ 13787 w 19050"/>
                <a:gd name="connsiteY3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28575">
                  <a:moveTo>
                    <a:pt x="13787" y="28575"/>
                  </a:moveTo>
                  <a:cubicBezTo>
                    <a:pt x="32171" y="28575"/>
                    <a:pt x="32171" y="0"/>
                    <a:pt x="13787" y="0"/>
                  </a:cubicBezTo>
                  <a:cubicBezTo>
                    <a:pt x="-4596" y="0"/>
                    <a:pt x="-4596" y="28575"/>
                    <a:pt x="13787" y="28575"/>
                  </a:cubicBezTo>
                  <a:lnTo>
                    <a:pt x="13787" y="28575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E602765-E969-4910-AA81-725382B62F61}"/>
                </a:ext>
              </a:extLst>
            </p:cNvPr>
            <p:cNvSpPr/>
            <p:nvPr/>
          </p:nvSpPr>
          <p:spPr>
            <a:xfrm>
              <a:off x="5851493" y="3192494"/>
              <a:ext cx="495300" cy="495300"/>
            </a:xfrm>
            <a:custGeom>
              <a:avLst/>
              <a:gdLst>
                <a:gd name="connsiteX0" fmla="*/ 500444 w 495300"/>
                <a:gd name="connsiteY0" fmla="*/ 250222 h 495300"/>
                <a:gd name="connsiteX1" fmla="*/ 250222 w 495300"/>
                <a:gd name="connsiteY1" fmla="*/ 500444 h 495300"/>
                <a:gd name="connsiteX2" fmla="*/ 0 w 495300"/>
                <a:gd name="connsiteY2" fmla="*/ 250222 h 495300"/>
                <a:gd name="connsiteX3" fmla="*/ 250222 w 495300"/>
                <a:gd name="connsiteY3" fmla="*/ 0 h 495300"/>
                <a:gd name="connsiteX4" fmla="*/ 500444 w 495300"/>
                <a:gd name="connsiteY4" fmla="*/ 250222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495300">
                  <a:moveTo>
                    <a:pt x="500444" y="250222"/>
                  </a:moveTo>
                  <a:cubicBezTo>
                    <a:pt x="500444" y="388415"/>
                    <a:pt x="388415" y="500444"/>
                    <a:pt x="250222" y="500444"/>
                  </a:cubicBezTo>
                  <a:cubicBezTo>
                    <a:pt x="112028" y="500444"/>
                    <a:pt x="0" y="388415"/>
                    <a:pt x="0" y="250222"/>
                  </a:cubicBezTo>
                  <a:cubicBezTo>
                    <a:pt x="0" y="112028"/>
                    <a:pt x="112028" y="0"/>
                    <a:pt x="250222" y="0"/>
                  </a:cubicBezTo>
                  <a:cubicBezTo>
                    <a:pt x="388415" y="0"/>
                    <a:pt x="500444" y="112028"/>
                    <a:pt x="500444" y="250222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CCA2E4C-CF35-4951-9B8E-103E24497059}"/>
                </a:ext>
              </a:extLst>
            </p:cNvPr>
            <p:cNvSpPr/>
            <p:nvPr/>
          </p:nvSpPr>
          <p:spPr>
            <a:xfrm>
              <a:off x="6171533" y="3639693"/>
              <a:ext cx="228600" cy="285750"/>
            </a:xfrm>
            <a:custGeom>
              <a:avLst/>
              <a:gdLst>
                <a:gd name="connsiteX0" fmla="*/ 84392 w 228600"/>
                <a:gd name="connsiteY0" fmla="*/ 0 h 285750"/>
                <a:gd name="connsiteX1" fmla="*/ 225838 w 228600"/>
                <a:gd name="connsiteY1" fmla="*/ 230600 h 285750"/>
                <a:gd name="connsiteX2" fmla="*/ 218504 w 228600"/>
                <a:gd name="connsiteY2" fmla="*/ 261366 h 285750"/>
                <a:gd name="connsiteX3" fmla="*/ 175927 w 228600"/>
                <a:gd name="connsiteY3" fmla="*/ 287465 h 285750"/>
                <a:gd name="connsiteX4" fmla="*/ 145161 w 228600"/>
                <a:gd name="connsiteY4" fmla="*/ 280130 h 285750"/>
                <a:gd name="connsiteX5" fmla="*/ 0 w 228600"/>
                <a:gd name="connsiteY5" fmla="*/ 43339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0" h="285750">
                  <a:moveTo>
                    <a:pt x="84392" y="0"/>
                  </a:moveTo>
                  <a:lnTo>
                    <a:pt x="225838" y="230600"/>
                  </a:lnTo>
                  <a:cubicBezTo>
                    <a:pt x="232315" y="241078"/>
                    <a:pt x="228981" y="254889"/>
                    <a:pt x="218504" y="261366"/>
                  </a:cubicBezTo>
                  <a:lnTo>
                    <a:pt x="175927" y="287465"/>
                  </a:lnTo>
                  <a:cubicBezTo>
                    <a:pt x="165449" y="293942"/>
                    <a:pt x="151638" y="290608"/>
                    <a:pt x="145161" y="280130"/>
                  </a:cubicBezTo>
                  <a:lnTo>
                    <a:pt x="0" y="43339"/>
                  </a:ln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5C5EAC8-CC34-440B-B8D5-13CC36055C75}"/>
                </a:ext>
              </a:extLst>
            </p:cNvPr>
            <p:cNvSpPr/>
            <p:nvPr/>
          </p:nvSpPr>
          <p:spPr>
            <a:xfrm>
              <a:off x="6105334" y="3540823"/>
              <a:ext cx="171450" cy="95250"/>
            </a:xfrm>
            <a:custGeom>
              <a:avLst/>
              <a:gdLst>
                <a:gd name="connsiteX0" fmla="*/ 174117 w 171450"/>
                <a:gd name="connsiteY0" fmla="*/ 0 h 95250"/>
                <a:gd name="connsiteX1" fmla="*/ 31337 w 171450"/>
                <a:gd name="connsiteY1" fmla="*/ 96393 h 95250"/>
                <a:gd name="connsiteX2" fmla="*/ 0 w 171450"/>
                <a:gd name="connsiteY2" fmla="*/ 9877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95250">
                  <a:moveTo>
                    <a:pt x="174117" y="0"/>
                  </a:moveTo>
                  <a:cubicBezTo>
                    <a:pt x="143828" y="50673"/>
                    <a:pt x="92012" y="87058"/>
                    <a:pt x="31337" y="96393"/>
                  </a:cubicBezTo>
                  <a:cubicBezTo>
                    <a:pt x="21146" y="98012"/>
                    <a:pt x="10668" y="98774"/>
                    <a:pt x="0" y="98774"/>
                  </a:cubicBez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70610BB-CE74-4945-B6E0-E6E25E2850FF}"/>
                </a:ext>
              </a:extLst>
            </p:cNvPr>
            <p:cNvSpPr/>
            <p:nvPr/>
          </p:nvSpPr>
          <p:spPr>
            <a:xfrm>
              <a:off x="6208394" y="3262503"/>
              <a:ext cx="95250" cy="190500"/>
            </a:xfrm>
            <a:custGeom>
              <a:avLst/>
              <a:gdLst>
                <a:gd name="connsiteX0" fmla="*/ 0 w 95250"/>
                <a:gd name="connsiteY0" fmla="*/ 0 h 190500"/>
                <a:gd name="connsiteX1" fmla="*/ 99631 w 95250"/>
                <a:gd name="connsiteY1" fmla="*/ 174593 h 190500"/>
                <a:gd name="connsiteX2" fmla="*/ 98584 w 95250"/>
                <a:gd name="connsiteY2" fmla="*/ 1952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190500">
                  <a:moveTo>
                    <a:pt x="0" y="0"/>
                  </a:moveTo>
                  <a:cubicBezTo>
                    <a:pt x="59627" y="35243"/>
                    <a:pt x="99631" y="100203"/>
                    <a:pt x="99631" y="174593"/>
                  </a:cubicBezTo>
                  <a:cubicBezTo>
                    <a:pt x="99631" y="181547"/>
                    <a:pt x="99251" y="188500"/>
                    <a:pt x="98584" y="195263"/>
                  </a:cubicBez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B6A30B-395B-4B59-A4C6-32AB617E223C}"/>
                </a:ext>
              </a:extLst>
            </p:cNvPr>
            <p:cNvSpPr/>
            <p:nvPr/>
          </p:nvSpPr>
          <p:spPr>
            <a:xfrm>
              <a:off x="5902833" y="3240881"/>
              <a:ext cx="142875" cy="295275"/>
            </a:xfrm>
            <a:custGeom>
              <a:avLst/>
              <a:gdLst>
                <a:gd name="connsiteX0" fmla="*/ 26861 w 142875"/>
                <a:gd name="connsiteY0" fmla="*/ 297085 h 295275"/>
                <a:gd name="connsiteX1" fmla="*/ 0 w 142875"/>
                <a:gd name="connsiteY1" fmla="*/ 196215 h 295275"/>
                <a:gd name="connsiteX2" fmla="*/ 152114 w 142875"/>
                <a:gd name="connsiteY2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295275">
                  <a:moveTo>
                    <a:pt x="26861" y="297085"/>
                  </a:moveTo>
                  <a:cubicBezTo>
                    <a:pt x="9811" y="267367"/>
                    <a:pt x="0" y="232981"/>
                    <a:pt x="0" y="196215"/>
                  </a:cubicBezTo>
                  <a:cubicBezTo>
                    <a:pt x="0" y="101727"/>
                    <a:pt x="64579" y="22384"/>
                    <a:pt x="152114" y="0"/>
                  </a:cubicBez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01A6DEC-AD34-4F78-86B5-4277243CA83E}"/>
                </a:ext>
              </a:extLst>
            </p:cNvPr>
            <p:cNvSpPr/>
            <p:nvPr/>
          </p:nvSpPr>
          <p:spPr>
            <a:xfrm>
              <a:off x="5981700" y="3325558"/>
              <a:ext cx="238125" cy="238125"/>
            </a:xfrm>
            <a:custGeom>
              <a:avLst/>
              <a:gdLst>
                <a:gd name="connsiteX0" fmla="*/ 16859 w 238125"/>
                <a:gd name="connsiteY0" fmla="*/ 225552 h 238125"/>
                <a:gd name="connsiteX1" fmla="*/ 16859 w 238125"/>
                <a:gd name="connsiteY1" fmla="*/ 225552 h 238125"/>
                <a:gd name="connsiteX2" fmla="*/ 16859 w 238125"/>
                <a:gd name="connsiteY2" fmla="*/ 144113 h 238125"/>
                <a:gd name="connsiteX3" fmla="*/ 144113 w 238125"/>
                <a:gd name="connsiteY3" fmla="*/ 16859 h 238125"/>
                <a:gd name="connsiteX4" fmla="*/ 225552 w 238125"/>
                <a:gd name="connsiteY4" fmla="*/ 16859 h 238125"/>
                <a:gd name="connsiteX5" fmla="*/ 225552 w 238125"/>
                <a:gd name="connsiteY5" fmla="*/ 16859 h 238125"/>
                <a:gd name="connsiteX6" fmla="*/ 225552 w 238125"/>
                <a:gd name="connsiteY6" fmla="*/ 98298 h 238125"/>
                <a:gd name="connsiteX7" fmla="*/ 98393 w 238125"/>
                <a:gd name="connsiteY7" fmla="*/ 225552 h 238125"/>
                <a:gd name="connsiteX8" fmla="*/ 16859 w 238125"/>
                <a:gd name="connsiteY8" fmla="*/ 22555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125" h="238125">
                  <a:moveTo>
                    <a:pt x="16859" y="225552"/>
                  </a:moveTo>
                  <a:lnTo>
                    <a:pt x="16859" y="225552"/>
                  </a:lnTo>
                  <a:cubicBezTo>
                    <a:pt x="-5620" y="203073"/>
                    <a:pt x="-5620" y="166592"/>
                    <a:pt x="16859" y="144113"/>
                  </a:cubicBezTo>
                  <a:lnTo>
                    <a:pt x="144113" y="16859"/>
                  </a:lnTo>
                  <a:cubicBezTo>
                    <a:pt x="166592" y="-5620"/>
                    <a:pt x="203073" y="-5620"/>
                    <a:pt x="225552" y="16859"/>
                  </a:cubicBezTo>
                  <a:lnTo>
                    <a:pt x="225552" y="16859"/>
                  </a:lnTo>
                  <a:cubicBezTo>
                    <a:pt x="248031" y="39338"/>
                    <a:pt x="248031" y="75819"/>
                    <a:pt x="225552" y="98298"/>
                  </a:cubicBezTo>
                  <a:lnTo>
                    <a:pt x="98393" y="225552"/>
                  </a:lnTo>
                  <a:cubicBezTo>
                    <a:pt x="75819" y="248031"/>
                    <a:pt x="39338" y="248031"/>
                    <a:pt x="16859" y="225552"/>
                  </a:cubicBezTo>
                  <a:close/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572D1E0-97B7-4619-B9F6-BFC89AFBFEB6}"/>
                </a:ext>
              </a:extLst>
            </p:cNvPr>
            <p:cNvSpPr/>
            <p:nvPr/>
          </p:nvSpPr>
          <p:spPr>
            <a:xfrm>
              <a:off x="6060757" y="3407378"/>
              <a:ext cx="76200" cy="76200"/>
            </a:xfrm>
            <a:custGeom>
              <a:avLst/>
              <a:gdLst>
                <a:gd name="connsiteX0" fmla="*/ 0 w 76200"/>
                <a:gd name="connsiteY0" fmla="*/ 0 h 76200"/>
                <a:gd name="connsiteX1" fmla="*/ 81534 w 76200"/>
                <a:gd name="connsiteY1" fmla="*/ 8143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76200">
                  <a:moveTo>
                    <a:pt x="0" y="0"/>
                  </a:moveTo>
                  <a:lnTo>
                    <a:pt x="81534" y="81439"/>
                  </a:lnTo>
                </a:path>
              </a:pathLst>
            </a:custGeom>
            <a:noFill/>
            <a:ln w="12700" cap="flat">
              <a:solidFill>
                <a:schemeClr val="accent2">
                  <a:lumMod val="40000"/>
                  <a:lumOff val="6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</p:grpSp>
      <p:grpSp>
        <p:nvGrpSpPr>
          <p:cNvPr id="18" name="Graphic 64">
            <a:extLst>
              <a:ext uri="{FF2B5EF4-FFF2-40B4-BE49-F238E27FC236}">
                <a16:creationId xmlns:a16="http://schemas.microsoft.com/office/drawing/2014/main" id="{FC6CF8E3-4A61-4B21-9F22-0821C70BF4CB}"/>
              </a:ext>
            </a:extLst>
          </p:cNvPr>
          <p:cNvGrpSpPr/>
          <p:nvPr/>
        </p:nvGrpSpPr>
        <p:grpSpPr>
          <a:xfrm>
            <a:off x="10311318" y="1231231"/>
            <a:ext cx="1052126" cy="1093115"/>
            <a:chOff x="5729287" y="3048000"/>
            <a:chExt cx="733425" cy="762000"/>
          </a:xfrm>
          <a:noFill/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4837414-04F8-4B19-9240-E5B1654E0983}"/>
                </a:ext>
              </a:extLst>
            </p:cNvPr>
            <p:cNvSpPr/>
            <p:nvPr/>
          </p:nvSpPr>
          <p:spPr>
            <a:xfrm>
              <a:off x="5796343" y="3267932"/>
              <a:ext cx="171450" cy="171450"/>
            </a:xfrm>
            <a:custGeom>
              <a:avLst/>
              <a:gdLst>
                <a:gd name="connsiteX0" fmla="*/ 176403 w 171450"/>
                <a:gd name="connsiteY0" fmla="*/ 88201 h 171450"/>
                <a:gd name="connsiteX1" fmla="*/ 88201 w 171450"/>
                <a:gd name="connsiteY1" fmla="*/ 176403 h 171450"/>
                <a:gd name="connsiteX2" fmla="*/ 0 w 171450"/>
                <a:gd name="connsiteY2" fmla="*/ 88201 h 171450"/>
                <a:gd name="connsiteX3" fmla="*/ 88201 w 171450"/>
                <a:gd name="connsiteY3" fmla="*/ 0 h 171450"/>
                <a:gd name="connsiteX4" fmla="*/ 176403 w 171450"/>
                <a:gd name="connsiteY4" fmla="*/ 8820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6403" y="88201"/>
                  </a:moveTo>
                  <a:cubicBezTo>
                    <a:pt x="176403" y="136914"/>
                    <a:pt x="136914" y="176403"/>
                    <a:pt x="88201" y="176403"/>
                  </a:cubicBezTo>
                  <a:cubicBezTo>
                    <a:pt x="39489" y="176403"/>
                    <a:pt x="0" y="136914"/>
                    <a:pt x="0" y="88201"/>
                  </a:cubicBezTo>
                  <a:cubicBezTo>
                    <a:pt x="0" y="39489"/>
                    <a:pt x="39489" y="0"/>
                    <a:pt x="88201" y="0"/>
                  </a:cubicBezTo>
                  <a:cubicBezTo>
                    <a:pt x="136914" y="0"/>
                    <a:pt x="176403" y="39489"/>
                    <a:pt x="176403" y="88201"/>
                  </a:cubicBezTo>
                  <a:close/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BB213C9-7883-49F3-88CE-8E2B87776665}"/>
                </a:ext>
              </a:extLst>
            </p:cNvPr>
            <p:cNvSpPr/>
            <p:nvPr/>
          </p:nvSpPr>
          <p:spPr>
            <a:xfrm>
              <a:off x="5729287" y="3446431"/>
              <a:ext cx="314325" cy="152400"/>
            </a:xfrm>
            <a:custGeom>
              <a:avLst/>
              <a:gdLst>
                <a:gd name="connsiteX0" fmla="*/ 0 w 314325"/>
                <a:gd name="connsiteY0" fmla="*/ 157829 h 152400"/>
                <a:gd name="connsiteX1" fmla="*/ 157829 w 314325"/>
                <a:gd name="connsiteY1" fmla="*/ 0 h 152400"/>
                <a:gd name="connsiteX2" fmla="*/ 315659 w 314325"/>
                <a:gd name="connsiteY2" fmla="*/ 157829 h 152400"/>
                <a:gd name="connsiteX3" fmla="*/ 0 w 314325"/>
                <a:gd name="connsiteY3" fmla="*/ 157829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152400">
                  <a:moveTo>
                    <a:pt x="0" y="157829"/>
                  </a:moveTo>
                  <a:cubicBezTo>
                    <a:pt x="0" y="70675"/>
                    <a:pt x="70676" y="0"/>
                    <a:pt x="157829" y="0"/>
                  </a:cubicBezTo>
                  <a:cubicBezTo>
                    <a:pt x="244983" y="0"/>
                    <a:pt x="315659" y="70675"/>
                    <a:pt x="315659" y="157829"/>
                  </a:cubicBezTo>
                  <a:lnTo>
                    <a:pt x="0" y="157829"/>
                  </a:lnTo>
                  <a:close/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24AFB57-7903-4988-81A0-6ED67183003D}"/>
                </a:ext>
              </a:extLst>
            </p:cNvPr>
            <p:cNvSpPr/>
            <p:nvPr/>
          </p:nvSpPr>
          <p:spPr>
            <a:xfrm>
              <a:off x="5875877" y="3650552"/>
              <a:ext cx="400050" cy="152400"/>
            </a:xfrm>
            <a:custGeom>
              <a:avLst/>
              <a:gdLst>
                <a:gd name="connsiteX0" fmla="*/ 401288 w 400050"/>
                <a:gd name="connsiteY0" fmla="*/ 0 h 152400"/>
                <a:gd name="connsiteX1" fmla="*/ 401288 w 400050"/>
                <a:gd name="connsiteY1" fmla="*/ 91821 h 152400"/>
                <a:gd name="connsiteX2" fmla="*/ 331851 w 400050"/>
                <a:gd name="connsiteY2" fmla="*/ 161258 h 152400"/>
                <a:gd name="connsiteX3" fmla="*/ 69437 w 400050"/>
                <a:gd name="connsiteY3" fmla="*/ 161258 h 152400"/>
                <a:gd name="connsiteX4" fmla="*/ 0 w 400050"/>
                <a:gd name="connsiteY4" fmla="*/ 91821 h 152400"/>
                <a:gd name="connsiteX5" fmla="*/ 0 w 400050"/>
                <a:gd name="connsiteY5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050" h="152400">
                  <a:moveTo>
                    <a:pt x="401288" y="0"/>
                  </a:moveTo>
                  <a:lnTo>
                    <a:pt x="401288" y="91821"/>
                  </a:lnTo>
                  <a:cubicBezTo>
                    <a:pt x="401288" y="130207"/>
                    <a:pt x="370237" y="161258"/>
                    <a:pt x="331851" y="161258"/>
                  </a:cubicBezTo>
                  <a:lnTo>
                    <a:pt x="69437" y="161258"/>
                  </a:lnTo>
                  <a:cubicBezTo>
                    <a:pt x="31052" y="161258"/>
                    <a:pt x="0" y="130207"/>
                    <a:pt x="0" y="91821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F5A5A23-DA72-4570-9BF4-EDE7344E597C}"/>
                </a:ext>
              </a:extLst>
            </p:cNvPr>
            <p:cNvSpPr/>
            <p:nvPr/>
          </p:nvSpPr>
          <p:spPr>
            <a:xfrm>
              <a:off x="5875877" y="3048000"/>
              <a:ext cx="400050" cy="238125"/>
            </a:xfrm>
            <a:custGeom>
              <a:avLst/>
              <a:gdLst>
                <a:gd name="connsiteX0" fmla="*/ 0 w 400050"/>
                <a:gd name="connsiteY0" fmla="*/ 171450 h 238125"/>
                <a:gd name="connsiteX1" fmla="*/ 0 w 400050"/>
                <a:gd name="connsiteY1" fmla="*/ 69437 h 238125"/>
                <a:gd name="connsiteX2" fmla="*/ 69437 w 400050"/>
                <a:gd name="connsiteY2" fmla="*/ 0 h 238125"/>
                <a:gd name="connsiteX3" fmla="*/ 331851 w 400050"/>
                <a:gd name="connsiteY3" fmla="*/ 0 h 238125"/>
                <a:gd name="connsiteX4" fmla="*/ 401288 w 400050"/>
                <a:gd name="connsiteY4" fmla="*/ 69437 h 238125"/>
                <a:gd name="connsiteX5" fmla="*/ 401288 w 400050"/>
                <a:gd name="connsiteY5" fmla="*/ 2466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050" h="238125">
                  <a:moveTo>
                    <a:pt x="0" y="171450"/>
                  </a:moveTo>
                  <a:lnTo>
                    <a:pt x="0" y="69437"/>
                  </a:lnTo>
                  <a:cubicBezTo>
                    <a:pt x="0" y="31052"/>
                    <a:pt x="31052" y="0"/>
                    <a:pt x="69437" y="0"/>
                  </a:cubicBezTo>
                  <a:lnTo>
                    <a:pt x="331851" y="0"/>
                  </a:lnTo>
                  <a:cubicBezTo>
                    <a:pt x="370237" y="0"/>
                    <a:pt x="401288" y="31052"/>
                    <a:pt x="401288" y="69437"/>
                  </a:cubicBezTo>
                  <a:lnTo>
                    <a:pt x="401288" y="246602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0A6F354-71B4-4904-AAE5-0ECED31F655A}"/>
                </a:ext>
              </a:extLst>
            </p:cNvPr>
            <p:cNvSpPr/>
            <p:nvPr/>
          </p:nvSpPr>
          <p:spPr>
            <a:xfrm>
              <a:off x="5875877" y="3147346"/>
              <a:ext cx="400050" cy="9525"/>
            </a:xfrm>
            <a:custGeom>
              <a:avLst/>
              <a:gdLst>
                <a:gd name="connsiteX0" fmla="*/ 0 w 400050"/>
                <a:gd name="connsiteY0" fmla="*/ 0 h 0"/>
                <a:gd name="connsiteX1" fmla="*/ 401288 w 400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0050">
                  <a:moveTo>
                    <a:pt x="0" y="0"/>
                  </a:moveTo>
                  <a:lnTo>
                    <a:pt x="401288" y="0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ECEEC8A-ED17-420C-AF3C-C9AF9D453983}"/>
                </a:ext>
              </a:extLst>
            </p:cNvPr>
            <p:cNvSpPr/>
            <p:nvPr/>
          </p:nvSpPr>
          <p:spPr>
            <a:xfrm>
              <a:off x="5875877" y="3721418"/>
              <a:ext cx="400050" cy="9525"/>
            </a:xfrm>
            <a:custGeom>
              <a:avLst/>
              <a:gdLst>
                <a:gd name="connsiteX0" fmla="*/ 0 w 400050"/>
                <a:gd name="connsiteY0" fmla="*/ 0 h 0"/>
                <a:gd name="connsiteX1" fmla="*/ 401288 w 4000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0050">
                  <a:moveTo>
                    <a:pt x="0" y="0"/>
                  </a:moveTo>
                  <a:lnTo>
                    <a:pt x="401288" y="0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1542F03-B120-4CD9-B556-31123D00D296}"/>
                </a:ext>
              </a:extLst>
            </p:cNvPr>
            <p:cNvSpPr/>
            <p:nvPr/>
          </p:nvSpPr>
          <p:spPr>
            <a:xfrm>
              <a:off x="5982747" y="3105150"/>
              <a:ext cx="28575" cy="9525"/>
            </a:xfrm>
            <a:custGeom>
              <a:avLst/>
              <a:gdLst>
                <a:gd name="connsiteX0" fmla="*/ 0 w 28575"/>
                <a:gd name="connsiteY0" fmla="*/ 0 h 0"/>
                <a:gd name="connsiteX1" fmla="*/ 28575 w 285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B44240B-E03A-4CA2-9FE8-8F215BBDFCF5}"/>
                </a:ext>
              </a:extLst>
            </p:cNvPr>
            <p:cNvSpPr/>
            <p:nvPr/>
          </p:nvSpPr>
          <p:spPr>
            <a:xfrm>
              <a:off x="6044850" y="3105150"/>
              <a:ext cx="104775" cy="9525"/>
            </a:xfrm>
            <a:custGeom>
              <a:avLst/>
              <a:gdLst>
                <a:gd name="connsiteX0" fmla="*/ 0 w 104775"/>
                <a:gd name="connsiteY0" fmla="*/ 0 h 0"/>
                <a:gd name="connsiteX1" fmla="*/ 109347 w 1047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>
                  <a:moveTo>
                    <a:pt x="0" y="0"/>
                  </a:moveTo>
                  <a:lnTo>
                    <a:pt x="109347" y="0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0E22C47-D807-449B-A5A8-1B81FF04A744}"/>
                </a:ext>
              </a:extLst>
            </p:cNvPr>
            <p:cNvSpPr/>
            <p:nvPr/>
          </p:nvSpPr>
          <p:spPr>
            <a:xfrm>
              <a:off x="6128385" y="3269647"/>
              <a:ext cx="333375" cy="333375"/>
            </a:xfrm>
            <a:custGeom>
              <a:avLst/>
              <a:gdLst>
                <a:gd name="connsiteX0" fmla="*/ 23431 w 333375"/>
                <a:gd name="connsiteY0" fmla="*/ 313468 h 333375"/>
                <a:gd name="connsiteX1" fmla="*/ 23431 w 333375"/>
                <a:gd name="connsiteY1" fmla="*/ 313468 h 333375"/>
                <a:gd name="connsiteX2" fmla="*/ 23431 w 333375"/>
                <a:gd name="connsiteY2" fmla="*/ 200216 h 333375"/>
                <a:gd name="connsiteX3" fmla="*/ 200215 w 333375"/>
                <a:gd name="connsiteY3" fmla="*/ 23431 h 333375"/>
                <a:gd name="connsiteX4" fmla="*/ 313468 w 333375"/>
                <a:gd name="connsiteY4" fmla="*/ 23431 h 333375"/>
                <a:gd name="connsiteX5" fmla="*/ 313468 w 333375"/>
                <a:gd name="connsiteY5" fmla="*/ 23431 h 333375"/>
                <a:gd name="connsiteX6" fmla="*/ 313468 w 333375"/>
                <a:gd name="connsiteY6" fmla="*/ 136684 h 333375"/>
                <a:gd name="connsiteX7" fmla="*/ 136684 w 333375"/>
                <a:gd name="connsiteY7" fmla="*/ 313468 h 333375"/>
                <a:gd name="connsiteX8" fmla="*/ 23431 w 333375"/>
                <a:gd name="connsiteY8" fmla="*/ 313468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75" h="333375">
                  <a:moveTo>
                    <a:pt x="23431" y="313468"/>
                  </a:moveTo>
                  <a:lnTo>
                    <a:pt x="23431" y="313468"/>
                  </a:lnTo>
                  <a:cubicBezTo>
                    <a:pt x="-7810" y="282226"/>
                    <a:pt x="-7810" y="231553"/>
                    <a:pt x="23431" y="200216"/>
                  </a:cubicBezTo>
                  <a:lnTo>
                    <a:pt x="200215" y="23431"/>
                  </a:lnTo>
                  <a:cubicBezTo>
                    <a:pt x="231457" y="-7810"/>
                    <a:pt x="282130" y="-7810"/>
                    <a:pt x="313468" y="23431"/>
                  </a:cubicBezTo>
                  <a:lnTo>
                    <a:pt x="313468" y="23431"/>
                  </a:lnTo>
                  <a:cubicBezTo>
                    <a:pt x="344710" y="54673"/>
                    <a:pt x="344710" y="105347"/>
                    <a:pt x="313468" y="136684"/>
                  </a:cubicBezTo>
                  <a:lnTo>
                    <a:pt x="136684" y="313468"/>
                  </a:lnTo>
                  <a:cubicBezTo>
                    <a:pt x="105442" y="344710"/>
                    <a:pt x="54769" y="344710"/>
                    <a:pt x="23431" y="313468"/>
                  </a:cubicBezTo>
                  <a:close/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AFC92BE-8A55-4B8D-9C98-F192252DFB65}"/>
                </a:ext>
              </a:extLst>
            </p:cNvPr>
            <p:cNvSpPr/>
            <p:nvPr/>
          </p:nvSpPr>
          <p:spPr>
            <a:xfrm>
              <a:off x="6238303" y="3383471"/>
              <a:ext cx="104775" cy="104775"/>
            </a:xfrm>
            <a:custGeom>
              <a:avLst/>
              <a:gdLst>
                <a:gd name="connsiteX0" fmla="*/ 0 w 104775"/>
                <a:gd name="connsiteY0" fmla="*/ 0 h 104775"/>
                <a:gd name="connsiteX1" fmla="*/ 113252 w 104775"/>
                <a:gd name="connsiteY1" fmla="*/ 113157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 h="104775">
                  <a:moveTo>
                    <a:pt x="0" y="0"/>
                  </a:moveTo>
                  <a:lnTo>
                    <a:pt x="113252" y="113157"/>
                  </a:lnTo>
                </a:path>
              </a:pathLst>
            </a:custGeom>
            <a:noFill/>
            <a:ln w="12700" cap="flat">
              <a:solidFill>
                <a:srgbClr val="DA3A8D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</p:grpSp>
      <p:grpSp>
        <p:nvGrpSpPr>
          <p:cNvPr id="29" name="Graphic 30">
            <a:extLst>
              <a:ext uri="{FF2B5EF4-FFF2-40B4-BE49-F238E27FC236}">
                <a16:creationId xmlns:a16="http://schemas.microsoft.com/office/drawing/2014/main" id="{AFF28C6D-4052-4659-86CC-528E7EF350A0}"/>
              </a:ext>
            </a:extLst>
          </p:cNvPr>
          <p:cNvGrpSpPr/>
          <p:nvPr/>
        </p:nvGrpSpPr>
        <p:grpSpPr>
          <a:xfrm>
            <a:off x="5473145" y="1138559"/>
            <a:ext cx="1241408" cy="1145409"/>
            <a:chOff x="5648325" y="3057525"/>
            <a:chExt cx="894493" cy="752475"/>
          </a:xfrm>
          <a:noFill/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472704B-7407-43A6-BE1B-5CCE7DF8DA70}"/>
                </a:ext>
              </a:extLst>
            </p:cNvPr>
            <p:cNvSpPr/>
            <p:nvPr/>
          </p:nvSpPr>
          <p:spPr>
            <a:xfrm>
              <a:off x="6063329" y="3626549"/>
              <a:ext cx="390525" cy="171450"/>
            </a:xfrm>
            <a:custGeom>
              <a:avLst/>
              <a:gdLst>
                <a:gd name="connsiteX0" fmla="*/ 0 w 390525"/>
                <a:gd name="connsiteY0" fmla="*/ 0 h 171450"/>
                <a:gd name="connsiteX1" fmla="*/ 397573 w 390525"/>
                <a:gd name="connsiteY1" fmla="*/ 0 h 171450"/>
                <a:gd name="connsiteX2" fmla="*/ 397573 w 390525"/>
                <a:gd name="connsiteY2" fmla="*/ 173927 h 171450"/>
                <a:gd name="connsiteX3" fmla="*/ 0 w 390525"/>
                <a:gd name="connsiteY3" fmla="*/ 173927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525" h="171450">
                  <a:moveTo>
                    <a:pt x="0" y="0"/>
                  </a:moveTo>
                  <a:lnTo>
                    <a:pt x="397573" y="0"/>
                  </a:lnTo>
                  <a:lnTo>
                    <a:pt x="397573" y="173927"/>
                  </a:lnTo>
                  <a:lnTo>
                    <a:pt x="0" y="173927"/>
                  </a:lnTo>
                  <a:close/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387F0A-B4F8-4BE6-A463-917FFF0B39BD}"/>
                </a:ext>
              </a:extLst>
            </p:cNvPr>
            <p:cNvSpPr/>
            <p:nvPr/>
          </p:nvSpPr>
          <p:spPr>
            <a:xfrm>
              <a:off x="6118860" y="3665696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6D2E1E-BBA3-4065-AB58-92F9677CF3D1}"/>
                </a:ext>
              </a:extLst>
            </p:cNvPr>
            <p:cNvSpPr/>
            <p:nvPr/>
          </p:nvSpPr>
          <p:spPr>
            <a:xfrm>
              <a:off x="6118860" y="3713512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CBEDAD3-783E-43DE-A9EF-9065037C0BC7}"/>
                </a:ext>
              </a:extLst>
            </p:cNvPr>
            <p:cNvSpPr/>
            <p:nvPr/>
          </p:nvSpPr>
          <p:spPr>
            <a:xfrm>
              <a:off x="6118860" y="3758851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9A35F88-A79E-40EB-A4CA-4AB56D217034}"/>
                </a:ext>
              </a:extLst>
            </p:cNvPr>
            <p:cNvSpPr/>
            <p:nvPr/>
          </p:nvSpPr>
          <p:spPr>
            <a:xfrm>
              <a:off x="6204585" y="3665696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8DB8351-AF47-4C4A-9267-138D888AEF4D}"/>
                </a:ext>
              </a:extLst>
            </p:cNvPr>
            <p:cNvSpPr/>
            <p:nvPr/>
          </p:nvSpPr>
          <p:spPr>
            <a:xfrm>
              <a:off x="6204585" y="3713512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35D682E-3394-4365-8070-832F33BFF022}"/>
                </a:ext>
              </a:extLst>
            </p:cNvPr>
            <p:cNvSpPr/>
            <p:nvPr/>
          </p:nvSpPr>
          <p:spPr>
            <a:xfrm>
              <a:off x="6204585" y="3758851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E74650D-87D0-4463-8C03-0EDBE6B22C7A}"/>
                </a:ext>
              </a:extLst>
            </p:cNvPr>
            <p:cNvSpPr/>
            <p:nvPr/>
          </p:nvSpPr>
          <p:spPr>
            <a:xfrm>
              <a:off x="6291263" y="3665696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AFA2980-0FC8-44A0-A2E4-1BAE42698E39}"/>
                </a:ext>
              </a:extLst>
            </p:cNvPr>
            <p:cNvSpPr/>
            <p:nvPr/>
          </p:nvSpPr>
          <p:spPr>
            <a:xfrm>
              <a:off x="6291263" y="3713512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30B526A-2EFD-4A1C-A488-9CC3948B6956}"/>
                </a:ext>
              </a:extLst>
            </p:cNvPr>
            <p:cNvSpPr/>
            <p:nvPr/>
          </p:nvSpPr>
          <p:spPr>
            <a:xfrm>
              <a:off x="6291263" y="3758851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2B66715-4A4B-480A-83C1-44311D0C49B5}"/>
                </a:ext>
              </a:extLst>
            </p:cNvPr>
            <p:cNvSpPr/>
            <p:nvPr/>
          </p:nvSpPr>
          <p:spPr>
            <a:xfrm>
              <a:off x="6376035" y="3665696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6783872-3B1A-4899-8E0D-CAE44D9F8049}"/>
                </a:ext>
              </a:extLst>
            </p:cNvPr>
            <p:cNvSpPr/>
            <p:nvPr/>
          </p:nvSpPr>
          <p:spPr>
            <a:xfrm>
              <a:off x="6376035" y="3713512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445D874-0976-4FB8-942B-D658646251ED}"/>
                </a:ext>
              </a:extLst>
            </p:cNvPr>
            <p:cNvSpPr/>
            <p:nvPr/>
          </p:nvSpPr>
          <p:spPr>
            <a:xfrm>
              <a:off x="6376035" y="3758851"/>
              <a:ext cx="38100" cy="9525"/>
            </a:xfrm>
            <a:custGeom>
              <a:avLst/>
              <a:gdLst>
                <a:gd name="connsiteX0" fmla="*/ 0 w 38100"/>
                <a:gd name="connsiteY0" fmla="*/ 0 h 0"/>
                <a:gd name="connsiteX1" fmla="*/ 40100 w 38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>
                  <a:moveTo>
                    <a:pt x="0" y="0"/>
                  </a:moveTo>
                  <a:lnTo>
                    <a:pt x="4010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9E79F4D-58A1-4AC1-B06D-A30D0EB67FCF}"/>
                </a:ext>
              </a:extLst>
            </p:cNvPr>
            <p:cNvSpPr/>
            <p:nvPr/>
          </p:nvSpPr>
          <p:spPr>
            <a:xfrm>
              <a:off x="6488811" y="3800475"/>
              <a:ext cx="47625" cy="9525"/>
            </a:xfrm>
            <a:custGeom>
              <a:avLst/>
              <a:gdLst>
                <a:gd name="connsiteX0" fmla="*/ 0 w 47625"/>
                <a:gd name="connsiteY0" fmla="*/ 0 h 0"/>
                <a:gd name="connsiteX1" fmla="*/ 56864 w 47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>
                  <a:moveTo>
                    <a:pt x="0" y="0"/>
                  </a:moveTo>
                  <a:lnTo>
                    <a:pt x="56864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BEB55A-EA8A-464C-8949-FB2E9FB6963D}"/>
                </a:ext>
              </a:extLst>
            </p:cNvPr>
            <p:cNvSpPr/>
            <p:nvPr/>
          </p:nvSpPr>
          <p:spPr>
            <a:xfrm>
              <a:off x="5648325" y="3800475"/>
              <a:ext cx="371475" cy="9525"/>
            </a:xfrm>
            <a:custGeom>
              <a:avLst/>
              <a:gdLst>
                <a:gd name="connsiteX0" fmla="*/ 379286 w 371475"/>
                <a:gd name="connsiteY0" fmla="*/ 0 h 0"/>
                <a:gd name="connsiteX1" fmla="*/ 0 w 3714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475">
                  <a:moveTo>
                    <a:pt x="379286" y="0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FA9695D-1D3B-4BD2-BC0B-808654B70BF6}"/>
                </a:ext>
              </a:extLst>
            </p:cNvPr>
            <p:cNvSpPr/>
            <p:nvPr/>
          </p:nvSpPr>
          <p:spPr>
            <a:xfrm>
              <a:off x="5673473" y="3176491"/>
              <a:ext cx="485776" cy="476250"/>
            </a:xfrm>
            <a:custGeom>
              <a:avLst/>
              <a:gdLst>
                <a:gd name="connsiteX0" fmla="*/ 490157 w 485775"/>
                <a:gd name="connsiteY0" fmla="*/ 419291 h 476250"/>
                <a:gd name="connsiteX1" fmla="*/ 490157 w 485775"/>
                <a:gd name="connsiteY1" fmla="*/ 328517 h 476250"/>
                <a:gd name="connsiteX2" fmla="*/ 389858 w 485775"/>
                <a:gd name="connsiteY2" fmla="*/ 328517 h 476250"/>
                <a:gd name="connsiteX3" fmla="*/ 111633 w 485775"/>
                <a:gd name="connsiteY3" fmla="*/ 482060 h 476250"/>
                <a:gd name="connsiteX4" fmla="*/ 60770 w 485775"/>
                <a:gd name="connsiteY4" fmla="*/ 431197 h 476250"/>
                <a:gd name="connsiteX5" fmla="*/ 60770 w 485775"/>
                <a:gd name="connsiteY5" fmla="*/ 352235 h 476250"/>
                <a:gd name="connsiteX6" fmla="*/ 0 w 485775"/>
                <a:gd name="connsiteY6" fmla="*/ 310325 h 476250"/>
                <a:gd name="connsiteX7" fmla="*/ 0 w 485775"/>
                <a:gd name="connsiteY7" fmla="*/ 190976 h 476250"/>
                <a:gd name="connsiteX8" fmla="*/ 60579 w 485775"/>
                <a:gd name="connsiteY8" fmla="*/ 152781 h 476250"/>
                <a:gd name="connsiteX9" fmla="*/ 60579 w 485775"/>
                <a:gd name="connsiteY9" fmla="*/ 73628 h 476250"/>
                <a:gd name="connsiteX10" fmla="*/ 184499 w 485775"/>
                <a:gd name="connsiteY10" fmla="*/ 0 h 476250"/>
                <a:gd name="connsiteX11" fmla="*/ 249746 w 485775"/>
                <a:gd name="connsiteY11" fmla="*/ 37243 h 476250"/>
                <a:gd name="connsiteX12" fmla="*/ 249746 w 485775"/>
                <a:gd name="connsiteY12" fmla="*/ 359664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5775" h="476250">
                  <a:moveTo>
                    <a:pt x="490157" y="419291"/>
                  </a:moveTo>
                  <a:lnTo>
                    <a:pt x="490157" y="328517"/>
                  </a:lnTo>
                  <a:lnTo>
                    <a:pt x="389858" y="328517"/>
                  </a:lnTo>
                  <a:lnTo>
                    <a:pt x="111633" y="482060"/>
                  </a:lnTo>
                  <a:lnTo>
                    <a:pt x="60770" y="431197"/>
                  </a:lnTo>
                  <a:lnTo>
                    <a:pt x="60770" y="352235"/>
                  </a:lnTo>
                  <a:lnTo>
                    <a:pt x="0" y="310325"/>
                  </a:lnTo>
                  <a:lnTo>
                    <a:pt x="0" y="190976"/>
                  </a:lnTo>
                  <a:lnTo>
                    <a:pt x="60579" y="152781"/>
                  </a:lnTo>
                  <a:lnTo>
                    <a:pt x="60579" y="73628"/>
                  </a:lnTo>
                  <a:lnTo>
                    <a:pt x="184499" y="0"/>
                  </a:lnTo>
                  <a:lnTo>
                    <a:pt x="249746" y="37243"/>
                  </a:lnTo>
                  <a:lnTo>
                    <a:pt x="249746" y="359664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B65009-EEDE-4BD8-A880-886B7D6C6D67}"/>
                </a:ext>
              </a:extLst>
            </p:cNvPr>
            <p:cNvSpPr/>
            <p:nvPr/>
          </p:nvSpPr>
          <p:spPr>
            <a:xfrm>
              <a:off x="5685568" y="3682460"/>
              <a:ext cx="47625" cy="76200"/>
            </a:xfrm>
            <a:custGeom>
              <a:avLst/>
              <a:gdLst>
                <a:gd name="connsiteX0" fmla="*/ 0 w 47625"/>
                <a:gd name="connsiteY0" fmla="*/ 83820 h 76200"/>
                <a:gd name="connsiteX1" fmla="*/ 0 w 47625"/>
                <a:gd name="connsiteY1" fmla="*/ 31052 h 76200"/>
                <a:gd name="connsiteX2" fmla="*/ 56293 w 47625"/>
                <a:gd name="connsiteY2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625" h="76200">
                  <a:moveTo>
                    <a:pt x="0" y="83820"/>
                  </a:moveTo>
                  <a:lnTo>
                    <a:pt x="0" y="31052"/>
                  </a:lnTo>
                  <a:lnTo>
                    <a:pt x="56293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C6DAF46-8C58-4987-AE06-07AC9AEA2DD4}"/>
                </a:ext>
              </a:extLst>
            </p:cNvPr>
            <p:cNvSpPr/>
            <p:nvPr/>
          </p:nvSpPr>
          <p:spPr>
            <a:xfrm>
              <a:off x="5796439" y="3212973"/>
              <a:ext cx="9525" cy="66675"/>
            </a:xfrm>
            <a:custGeom>
              <a:avLst/>
              <a:gdLst>
                <a:gd name="connsiteX0" fmla="*/ 0 w 0"/>
                <a:gd name="connsiteY0" fmla="*/ 75343 h 66675"/>
                <a:gd name="connsiteX1" fmla="*/ 0 w 0"/>
                <a:gd name="connsiteY1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66675">
                  <a:moveTo>
                    <a:pt x="0" y="75343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588501A-C632-4512-B8D7-6090F848D7A5}"/>
                </a:ext>
              </a:extLst>
            </p:cNvPr>
            <p:cNvSpPr/>
            <p:nvPr/>
          </p:nvSpPr>
          <p:spPr>
            <a:xfrm>
              <a:off x="5734050" y="3250692"/>
              <a:ext cx="123825" cy="104775"/>
            </a:xfrm>
            <a:custGeom>
              <a:avLst/>
              <a:gdLst>
                <a:gd name="connsiteX0" fmla="*/ 125825 w 123825"/>
                <a:gd name="connsiteY0" fmla="*/ 0 h 104775"/>
                <a:gd name="connsiteX1" fmla="*/ 125825 w 123825"/>
                <a:gd name="connsiteY1" fmla="*/ 73914 h 104775"/>
                <a:gd name="connsiteX2" fmla="*/ 62389 w 123825"/>
                <a:gd name="connsiteY2" fmla="*/ 113062 h 104775"/>
                <a:gd name="connsiteX3" fmla="*/ 0 w 123825"/>
                <a:gd name="connsiteY3" fmla="*/ 7858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104775">
                  <a:moveTo>
                    <a:pt x="125825" y="0"/>
                  </a:moveTo>
                  <a:lnTo>
                    <a:pt x="125825" y="73914"/>
                  </a:lnTo>
                  <a:lnTo>
                    <a:pt x="62389" y="113062"/>
                  </a:lnTo>
                  <a:lnTo>
                    <a:pt x="0" y="78581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0B0918-0C53-457F-B845-8CC3A4559EB5}"/>
                </a:ext>
              </a:extLst>
            </p:cNvPr>
            <p:cNvSpPr/>
            <p:nvPr/>
          </p:nvSpPr>
          <p:spPr>
            <a:xfrm>
              <a:off x="5673471" y="3390805"/>
              <a:ext cx="47625" cy="28575"/>
            </a:xfrm>
            <a:custGeom>
              <a:avLst/>
              <a:gdLst>
                <a:gd name="connsiteX0" fmla="*/ 54959 w 47625"/>
                <a:gd name="connsiteY0" fmla="*/ 0 h 28575"/>
                <a:gd name="connsiteX1" fmla="*/ 0 w 47625"/>
                <a:gd name="connsiteY1" fmla="*/ 3543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28575">
                  <a:moveTo>
                    <a:pt x="54959" y="0"/>
                  </a:moveTo>
                  <a:lnTo>
                    <a:pt x="0" y="35433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7436E53-9C06-40BA-A57A-CD067205D9CD}"/>
                </a:ext>
              </a:extLst>
            </p:cNvPr>
            <p:cNvSpPr/>
            <p:nvPr/>
          </p:nvSpPr>
          <p:spPr>
            <a:xfrm>
              <a:off x="5734050" y="3421571"/>
              <a:ext cx="123825" cy="95250"/>
            </a:xfrm>
            <a:custGeom>
              <a:avLst/>
              <a:gdLst>
                <a:gd name="connsiteX0" fmla="*/ 0 w 123825"/>
                <a:gd name="connsiteY0" fmla="*/ 40957 h 95250"/>
                <a:gd name="connsiteX1" fmla="*/ 62389 w 123825"/>
                <a:gd name="connsiteY1" fmla="*/ 0 h 95250"/>
                <a:gd name="connsiteX2" fmla="*/ 125825 w 123825"/>
                <a:gd name="connsiteY2" fmla="*/ 35338 h 95250"/>
                <a:gd name="connsiteX3" fmla="*/ 125825 w 123825"/>
                <a:gd name="connsiteY3" fmla="*/ 1015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95250">
                  <a:moveTo>
                    <a:pt x="0" y="40957"/>
                  </a:moveTo>
                  <a:lnTo>
                    <a:pt x="62389" y="0"/>
                  </a:lnTo>
                  <a:lnTo>
                    <a:pt x="125825" y="35338"/>
                  </a:lnTo>
                  <a:lnTo>
                    <a:pt x="125825" y="101537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80E98E5-ECA8-405A-AECD-36CA9FC32051}"/>
                </a:ext>
              </a:extLst>
            </p:cNvPr>
            <p:cNvSpPr/>
            <p:nvPr/>
          </p:nvSpPr>
          <p:spPr>
            <a:xfrm>
              <a:off x="5787200" y="3487674"/>
              <a:ext cx="133350" cy="76200"/>
            </a:xfrm>
            <a:custGeom>
              <a:avLst/>
              <a:gdLst>
                <a:gd name="connsiteX0" fmla="*/ 0 w 133350"/>
                <a:gd name="connsiteY0" fmla="*/ 79248 h 76200"/>
                <a:gd name="connsiteX1" fmla="*/ 136017 w 133350"/>
                <a:gd name="connsiteY1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76200">
                  <a:moveTo>
                    <a:pt x="0" y="79248"/>
                  </a:moveTo>
                  <a:lnTo>
                    <a:pt x="136017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55E17FB-6266-406F-A2C4-A12BE11EC45F}"/>
                </a:ext>
              </a:extLst>
            </p:cNvPr>
            <p:cNvSpPr/>
            <p:nvPr/>
          </p:nvSpPr>
          <p:spPr>
            <a:xfrm>
              <a:off x="5728430" y="3491389"/>
              <a:ext cx="66675" cy="38100"/>
            </a:xfrm>
            <a:custGeom>
              <a:avLst/>
              <a:gdLst>
                <a:gd name="connsiteX0" fmla="*/ 68485 w 66675"/>
                <a:gd name="connsiteY0" fmla="*/ 0 h 38100"/>
                <a:gd name="connsiteX1" fmla="*/ 0 w 66675"/>
                <a:gd name="connsiteY1" fmla="*/ 3914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38100">
                  <a:moveTo>
                    <a:pt x="68485" y="0"/>
                  </a:moveTo>
                  <a:lnTo>
                    <a:pt x="0" y="39148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25D7BDB-65B6-47F0-A5DE-610D6EA1BE65}"/>
                </a:ext>
              </a:extLst>
            </p:cNvPr>
            <p:cNvSpPr/>
            <p:nvPr/>
          </p:nvSpPr>
          <p:spPr>
            <a:xfrm>
              <a:off x="5796439" y="3363754"/>
              <a:ext cx="9525" cy="57150"/>
            </a:xfrm>
            <a:custGeom>
              <a:avLst/>
              <a:gdLst>
                <a:gd name="connsiteX0" fmla="*/ 0 w 0"/>
                <a:gd name="connsiteY0" fmla="*/ 0 h 57150"/>
                <a:gd name="connsiteX1" fmla="*/ 0 w 0"/>
                <a:gd name="connsiteY1" fmla="*/ 57817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7150">
                  <a:moveTo>
                    <a:pt x="0" y="0"/>
                  </a:moveTo>
                  <a:lnTo>
                    <a:pt x="0" y="57817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FAE32BB-3DB5-4184-A436-6757185232C3}"/>
                </a:ext>
              </a:extLst>
            </p:cNvPr>
            <p:cNvSpPr/>
            <p:nvPr/>
          </p:nvSpPr>
          <p:spPr>
            <a:xfrm>
              <a:off x="5871020" y="3383375"/>
              <a:ext cx="47625" cy="28575"/>
            </a:xfrm>
            <a:custGeom>
              <a:avLst/>
              <a:gdLst>
                <a:gd name="connsiteX0" fmla="*/ 0 w 47625"/>
                <a:gd name="connsiteY0" fmla="*/ 0 h 28575"/>
                <a:gd name="connsiteX1" fmla="*/ 52197 w 47625"/>
                <a:gd name="connsiteY1" fmla="*/ 3067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28575">
                  <a:moveTo>
                    <a:pt x="0" y="0"/>
                  </a:moveTo>
                  <a:lnTo>
                    <a:pt x="52197" y="30671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E4FE04A-CD96-451F-AB9A-0B88B8802E9F}"/>
                </a:ext>
              </a:extLst>
            </p:cNvPr>
            <p:cNvSpPr/>
            <p:nvPr/>
          </p:nvSpPr>
          <p:spPr>
            <a:xfrm>
              <a:off x="5946553" y="3325749"/>
              <a:ext cx="76200" cy="190500"/>
            </a:xfrm>
            <a:custGeom>
              <a:avLst/>
              <a:gdLst>
                <a:gd name="connsiteX0" fmla="*/ 1429 w 76200"/>
                <a:gd name="connsiteY0" fmla="*/ 0 h 190500"/>
                <a:gd name="connsiteX1" fmla="*/ 81058 w 76200"/>
                <a:gd name="connsiteY1" fmla="*/ 97631 h 190500"/>
                <a:gd name="connsiteX2" fmla="*/ 0 w 76200"/>
                <a:gd name="connsiteY2" fmla="*/ 19554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190500">
                  <a:moveTo>
                    <a:pt x="1429" y="0"/>
                  </a:moveTo>
                  <a:cubicBezTo>
                    <a:pt x="46863" y="9334"/>
                    <a:pt x="81058" y="49530"/>
                    <a:pt x="81058" y="97631"/>
                  </a:cubicBezTo>
                  <a:cubicBezTo>
                    <a:pt x="81058" y="146304"/>
                    <a:pt x="46196" y="186880"/>
                    <a:pt x="0" y="195548"/>
                  </a:cubicBez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790CE61-5953-4379-917A-07D2CABFDEE2}"/>
                </a:ext>
              </a:extLst>
            </p:cNvPr>
            <p:cNvSpPr/>
            <p:nvPr/>
          </p:nvSpPr>
          <p:spPr>
            <a:xfrm>
              <a:off x="5946553" y="3176397"/>
              <a:ext cx="190500" cy="123825"/>
            </a:xfrm>
            <a:custGeom>
              <a:avLst/>
              <a:gdLst>
                <a:gd name="connsiteX0" fmla="*/ 0 w 190500"/>
                <a:gd name="connsiteY0" fmla="*/ 36576 h 123825"/>
                <a:gd name="connsiteX1" fmla="*/ 23241 w 190500"/>
                <a:gd name="connsiteY1" fmla="*/ 0 h 123825"/>
                <a:gd name="connsiteX2" fmla="*/ 108014 w 190500"/>
                <a:gd name="connsiteY2" fmla="*/ 36576 h 123825"/>
                <a:gd name="connsiteX3" fmla="*/ 94964 w 190500"/>
                <a:gd name="connsiteY3" fmla="*/ 68961 h 123825"/>
                <a:gd name="connsiteX4" fmla="*/ 147161 w 190500"/>
                <a:gd name="connsiteY4" fmla="*/ 118301 h 123825"/>
                <a:gd name="connsiteX5" fmla="*/ 176975 w 190500"/>
                <a:gd name="connsiteY5" fmla="*/ 99632 h 123825"/>
                <a:gd name="connsiteX6" fmla="*/ 197453 w 190500"/>
                <a:gd name="connsiteY6" fmla="*/ 130683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123825">
                  <a:moveTo>
                    <a:pt x="0" y="36576"/>
                  </a:moveTo>
                  <a:lnTo>
                    <a:pt x="23241" y="0"/>
                  </a:lnTo>
                  <a:lnTo>
                    <a:pt x="108014" y="36576"/>
                  </a:lnTo>
                  <a:lnTo>
                    <a:pt x="94964" y="68961"/>
                  </a:lnTo>
                  <a:cubicBezTo>
                    <a:pt x="94964" y="68961"/>
                    <a:pt x="132207" y="93155"/>
                    <a:pt x="147161" y="118301"/>
                  </a:cubicBezTo>
                  <a:lnTo>
                    <a:pt x="176975" y="99632"/>
                  </a:lnTo>
                  <a:lnTo>
                    <a:pt x="197453" y="130683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60FE709-F7F6-468D-A1B9-2472BE9E9A5D}"/>
                </a:ext>
              </a:extLst>
            </p:cNvPr>
            <p:cNvSpPr/>
            <p:nvPr/>
          </p:nvSpPr>
          <p:spPr>
            <a:xfrm>
              <a:off x="6154293" y="3270599"/>
              <a:ext cx="180975" cy="352425"/>
            </a:xfrm>
            <a:custGeom>
              <a:avLst/>
              <a:gdLst>
                <a:gd name="connsiteX0" fmla="*/ 0 w 180975"/>
                <a:gd name="connsiteY0" fmla="*/ 193834 h 352425"/>
                <a:gd name="connsiteX1" fmla="*/ 16764 w 180975"/>
                <a:gd name="connsiteY1" fmla="*/ 0 h 352425"/>
                <a:gd name="connsiteX2" fmla="*/ 144399 w 180975"/>
                <a:gd name="connsiteY2" fmla="*/ 0 h 352425"/>
                <a:gd name="connsiteX3" fmla="*/ 181737 w 180975"/>
                <a:gd name="connsiteY3" fmla="*/ 355949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352425">
                  <a:moveTo>
                    <a:pt x="0" y="193834"/>
                  </a:moveTo>
                  <a:lnTo>
                    <a:pt x="16764" y="0"/>
                  </a:lnTo>
                  <a:lnTo>
                    <a:pt x="144399" y="0"/>
                  </a:lnTo>
                  <a:lnTo>
                    <a:pt x="181737" y="355949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3B115A2-DEE9-4902-BDFF-F4A5BC4EB05C}"/>
                </a:ext>
              </a:extLst>
            </p:cNvPr>
            <p:cNvSpPr/>
            <p:nvPr/>
          </p:nvSpPr>
          <p:spPr>
            <a:xfrm>
              <a:off x="6167342" y="3313462"/>
              <a:ext cx="85725" cy="9525"/>
            </a:xfrm>
            <a:custGeom>
              <a:avLst/>
              <a:gdLst>
                <a:gd name="connsiteX0" fmla="*/ 94679 w 85725"/>
                <a:gd name="connsiteY0" fmla="*/ 0 h 0"/>
                <a:gd name="connsiteX1" fmla="*/ 0 w 857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>
                  <a:moveTo>
                    <a:pt x="94679" y="0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1161ACF-6736-4B6C-8468-F4B26870CA1F}"/>
                </a:ext>
              </a:extLst>
            </p:cNvPr>
            <p:cNvSpPr/>
            <p:nvPr/>
          </p:nvSpPr>
          <p:spPr>
            <a:xfrm>
              <a:off x="6256782" y="3352610"/>
              <a:ext cx="28575" cy="228600"/>
            </a:xfrm>
            <a:custGeom>
              <a:avLst/>
              <a:gdLst>
                <a:gd name="connsiteX0" fmla="*/ 0 w 28575"/>
                <a:gd name="connsiteY0" fmla="*/ 0 h 228600"/>
                <a:gd name="connsiteX1" fmla="*/ 30766 w 28575"/>
                <a:gd name="connsiteY1" fmla="*/ 234791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28600">
                  <a:moveTo>
                    <a:pt x="0" y="0"/>
                  </a:moveTo>
                  <a:lnTo>
                    <a:pt x="30766" y="234791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9035C10-4247-4F77-A33F-5C05C34F5D66}"/>
                </a:ext>
              </a:extLst>
            </p:cNvPr>
            <p:cNvSpPr/>
            <p:nvPr/>
          </p:nvSpPr>
          <p:spPr>
            <a:xfrm>
              <a:off x="6199918" y="3057525"/>
              <a:ext cx="342900" cy="142875"/>
            </a:xfrm>
            <a:custGeom>
              <a:avLst/>
              <a:gdLst>
                <a:gd name="connsiteX0" fmla="*/ 0 w 342900"/>
                <a:gd name="connsiteY0" fmla="*/ 149733 h 142875"/>
                <a:gd name="connsiteX1" fmla="*/ 0 w 342900"/>
                <a:gd name="connsiteY1" fmla="*/ 68390 h 142875"/>
                <a:gd name="connsiteX2" fmla="*/ 23717 w 342900"/>
                <a:gd name="connsiteY2" fmla="*/ 44672 h 142875"/>
                <a:gd name="connsiteX3" fmla="*/ 59436 w 342900"/>
                <a:gd name="connsiteY3" fmla="*/ 44672 h 142875"/>
                <a:gd name="connsiteX4" fmla="*/ 79248 w 342900"/>
                <a:gd name="connsiteY4" fmla="*/ 33909 h 142875"/>
                <a:gd name="connsiteX5" fmla="*/ 94297 w 342900"/>
                <a:gd name="connsiteY5" fmla="*/ 10763 h 142875"/>
                <a:gd name="connsiteX6" fmla="*/ 114109 w 342900"/>
                <a:gd name="connsiteY6" fmla="*/ 0 h 142875"/>
                <a:gd name="connsiteX7" fmla="*/ 347853 w 342900"/>
                <a:gd name="connsiteY7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142875">
                  <a:moveTo>
                    <a:pt x="0" y="149733"/>
                  </a:moveTo>
                  <a:lnTo>
                    <a:pt x="0" y="68390"/>
                  </a:lnTo>
                  <a:cubicBezTo>
                    <a:pt x="0" y="55340"/>
                    <a:pt x="10573" y="44672"/>
                    <a:pt x="23717" y="44672"/>
                  </a:cubicBezTo>
                  <a:lnTo>
                    <a:pt x="59436" y="44672"/>
                  </a:lnTo>
                  <a:cubicBezTo>
                    <a:pt x="67437" y="44672"/>
                    <a:pt x="74962" y="40577"/>
                    <a:pt x="79248" y="33909"/>
                  </a:cubicBezTo>
                  <a:lnTo>
                    <a:pt x="94297" y="10763"/>
                  </a:lnTo>
                  <a:cubicBezTo>
                    <a:pt x="98679" y="4096"/>
                    <a:pt x="106109" y="0"/>
                    <a:pt x="114109" y="0"/>
                  </a:cubicBezTo>
                  <a:lnTo>
                    <a:pt x="347853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F50490-A399-4045-A586-68704A76DEC3}"/>
                </a:ext>
              </a:extLst>
            </p:cNvPr>
            <p:cNvSpPr/>
            <p:nvPr/>
          </p:nvSpPr>
          <p:spPr>
            <a:xfrm>
              <a:off x="6248400" y="3106102"/>
              <a:ext cx="171450" cy="104775"/>
            </a:xfrm>
            <a:custGeom>
              <a:avLst/>
              <a:gdLst>
                <a:gd name="connsiteX0" fmla="*/ 0 w 171450"/>
                <a:gd name="connsiteY0" fmla="*/ 110490 h 104775"/>
                <a:gd name="connsiteX1" fmla="*/ 0 w 171450"/>
                <a:gd name="connsiteY1" fmla="*/ 56483 h 104775"/>
                <a:gd name="connsiteX2" fmla="*/ 19240 w 171450"/>
                <a:gd name="connsiteY2" fmla="*/ 37243 h 104775"/>
                <a:gd name="connsiteX3" fmla="*/ 56102 w 171450"/>
                <a:gd name="connsiteY3" fmla="*/ 37243 h 104775"/>
                <a:gd name="connsiteX4" fmla="*/ 72104 w 171450"/>
                <a:gd name="connsiteY4" fmla="*/ 28670 h 104775"/>
                <a:gd name="connsiteX5" fmla="*/ 85535 w 171450"/>
                <a:gd name="connsiteY5" fmla="*/ 8573 h 104775"/>
                <a:gd name="connsiteX6" fmla="*/ 101537 w 171450"/>
                <a:gd name="connsiteY6" fmla="*/ 0 h 104775"/>
                <a:gd name="connsiteX7" fmla="*/ 175736 w 171450"/>
                <a:gd name="connsiteY7" fmla="*/ 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104775">
                  <a:moveTo>
                    <a:pt x="0" y="110490"/>
                  </a:moveTo>
                  <a:lnTo>
                    <a:pt x="0" y="56483"/>
                  </a:lnTo>
                  <a:cubicBezTo>
                    <a:pt x="0" y="45815"/>
                    <a:pt x="8668" y="37243"/>
                    <a:pt x="19240" y="37243"/>
                  </a:cubicBezTo>
                  <a:lnTo>
                    <a:pt x="56102" y="37243"/>
                  </a:lnTo>
                  <a:cubicBezTo>
                    <a:pt x="62579" y="37243"/>
                    <a:pt x="68580" y="34004"/>
                    <a:pt x="72104" y="28670"/>
                  </a:cubicBezTo>
                  <a:lnTo>
                    <a:pt x="85535" y="8573"/>
                  </a:lnTo>
                  <a:cubicBezTo>
                    <a:pt x="89059" y="3239"/>
                    <a:pt x="95155" y="0"/>
                    <a:pt x="101537" y="0"/>
                  </a:cubicBezTo>
                  <a:lnTo>
                    <a:pt x="175736" y="0"/>
                  </a:lnTo>
                </a:path>
              </a:pathLst>
            </a:custGeom>
            <a:noFill/>
            <a:ln w="12700" cap="flat">
              <a:solidFill>
                <a:schemeClr val="accent6">
                  <a:lumMod val="50000"/>
                </a:schemeClr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5ADE1AB-8F79-4B54-93DF-C714AC428B81}"/>
              </a:ext>
            </a:extLst>
          </p:cNvPr>
          <p:cNvGrpSpPr/>
          <p:nvPr/>
        </p:nvGrpSpPr>
        <p:grpSpPr>
          <a:xfrm>
            <a:off x="7920973" y="1231231"/>
            <a:ext cx="1207336" cy="1136138"/>
            <a:chOff x="9486046" y="-1033407"/>
            <a:chExt cx="2225825" cy="1993971"/>
          </a:xfrm>
        </p:grpSpPr>
        <p:grpSp>
          <p:nvGrpSpPr>
            <p:cNvPr id="63" name="Graphic 378">
              <a:extLst>
                <a:ext uri="{FF2B5EF4-FFF2-40B4-BE49-F238E27FC236}">
                  <a16:creationId xmlns:a16="http://schemas.microsoft.com/office/drawing/2014/main" id="{F5FA57C3-2E43-41A9-9EAD-7E7DD4A885F0}"/>
                </a:ext>
              </a:extLst>
            </p:cNvPr>
            <p:cNvGrpSpPr/>
            <p:nvPr/>
          </p:nvGrpSpPr>
          <p:grpSpPr>
            <a:xfrm>
              <a:off x="9807245" y="-1033407"/>
              <a:ext cx="675321" cy="477654"/>
              <a:chOff x="1306430" y="1842519"/>
              <a:chExt cx="330806" cy="233978"/>
            </a:xfrm>
          </p:grpSpPr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FC2D0D26-BB48-4D04-BD2D-28CF73F24C02}"/>
                  </a:ext>
                </a:extLst>
              </p:cNvPr>
              <p:cNvSpPr/>
              <p:nvPr/>
            </p:nvSpPr>
            <p:spPr>
              <a:xfrm>
                <a:off x="1306430" y="1842519"/>
                <a:ext cx="138800" cy="138800"/>
              </a:xfrm>
              <a:custGeom>
                <a:avLst/>
                <a:gdLst>
                  <a:gd name="connsiteX0" fmla="*/ 84602 w 138799"/>
                  <a:gd name="connsiteY0" fmla="*/ 134834 h 138799"/>
                  <a:gd name="connsiteX1" fmla="*/ 13550 w 138799"/>
                  <a:gd name="connsiteY1" fmla="*/ 134834 h 138799"/>
                  <a:gd name="connsiteX2" fmla="*/ 4957 w 138799"/>
                  <a:gd name="connsiteY2" fmla="*/ 126242 h 138799"/>
                  <a:gd name="connsiteX3" fmla="*/ 4957 w 138799"/>
                  <a:gd name="connsiteY3" fmla="*/ 13550 h 138799"/>
                  <a:gd name="connsiteX4" fmla="*/ 13550 w 138799"/>
                  <a:gd name="connsiteY4" fmla="*/ 4957 h 138799"/>
                  <a:gd name="connsiteX5" fmla="*/ 125911 w 138799"/>
                  <a:gd name="connsiteY5" fmla="*/ 4957 h 138799"/>
                  <a:gd name="connsiteX6" fmla="*/ 134504 w 138799"/>
                  <a:gd name="connsiteY6" fmla="*/ 13550 h 138799"/>
                  <a:gd name="connsiteX7" fmla="*/ 134504 w 138799"/>
                  <a:gd name="connsiteY7" fmla="*/ 82949 h 138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799" h="138799">
                    <a:moveTo>
                      <a:pt x="84602" y="134834"/>
                    </a:moveTo>
                    <a:lnTo>
                      <a:pt x="13550" y="134834"/>
                    </a:lnTo>
                    <a:cubicBezTo>
                      <a:pt x="8592" y="134834"/>
                      <a:pt x="4957" y="130868"/>
                      <a:pt x="4957" y="126242"/>
                    </a:cubicBezTo>
                    <a:lnTo>
                      <a:pt x="4957" y="13550"/>
                    </a:lnTo>
                    <a:cubicBezTo>
                      <a:pt x="4957" y="8592"/>
                      <a:pt x="8923" y="4957"/>
                      <a:pt x="13550" y="4957"/>
                    </a:cubicBezTo>
                    <a:lnTo>
                      <a:pt x="125911" y="4957"/>
                    </a:lnTo>
                    <a:cubicBezTo>
                      <a:pt x="130868" y="4957"/>
                      <a:pt x="134504" y="8923"/>
                      <a:pt x="134504" y="13550"/>
                    </a:cubicBezTo>
                    <a:lnTo>
                      <a:pt x="134504" y="82949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326FF7B-7E37-4073-A8BE-A11FA2B593D1}"/>
                  </a:ext>
                </a:extLst>
              </p:cNvPr>
              <p:cNvSpPr/>
              <p:nvPr/>
            </p:nvSpPr>
            <p:spPr>
              <a:xfrm>
                <a:off x="1321631" y="1867305"/>
                <a:ext cx="109057" cy="89229"/>
              </a:xfrm>
              <a:custGeom>
                <a:avLst/>
                <a:gdLst>
                  <a:gd name="connsiteX0" fmla="*/ 104100 w 109057"/>
                  <a:gd name="connsiteY0" fmla="*/ 14210 h 89228"/>
                  <a:gd name="connsiteX1" fmla="*/ 92533 w 109057"/>
                  <a:gd name="connsiteY1" fmla="*/ 17515 h 89228"/>
                  <a:gd name="connsiteX2" fmla="*/ 101456 w 109057"/>
                  <a:gd name="connsiteY2" fmla="*/ 6279 h 89228"/>
                  <a:gd name="connsiteX3" fmla="*/ 88568 w 109057"/>
                  <a:gd name="connsiteY3" fmla="*/ 11236 h 89228"/>
                  <a:gd name="connsiteX4" fmla="*/ 73696 w 109057"/>
                  <a:gd name="connsiteY4" fmla="*/ 4957 h 89228"/>
                  <a:gd name="connsiteX5" fmla="*/ 53207 w 109057"/>
                  <a:gd name="connsiteY5" fmla="*/ 25447 h 89228"/>
                  <a:gd name="connsiteX6" fmla="*/ 53868 w 109057"/>
                  <a:gd name="connsiteY6" fmla="*/ 30073 h 89228"/>
                  <a:gd name="connsiteX7" fmla="*/ 11897 w 109057"/>
                  <a:gd name="connsiteY7" fmla="*/ 8923 h 89228"/>
                  <a:gd name="connsiteX8" fmla="*/ 9253 w 109057"/>
                  <a:gd name="connsiteY8" fmla="*/ 19168 h 89228"/>
                  <a:gd name="connsiteX9" fmla="*/ 18176 w 109057"/>
                  <a:gd name="connsiteY9" fmla="*/ 36022 h 89228"/>
                  <a:gd name="connsiteX10" fmla="*/ 8923 w 109057"/>
                  <a:gd name="connsiteY10" fmla="*/ 33378 h 89228"/>
                  <a:gd name="connsiteX11" fmla="*/ 8923 w 109057"/>
                  <a:gd name="connsiteY11" fmla="*/ 33709 h 89228"/>
                  <a:gd name="connsiteX12" fmla="*/ 25116 w 109057"/>
                  <a:gd name="connsiteY12" fmla="*/ 53537 h 89228"/>
                  <a:gd name="connsiteX13" fmla="*/ 19829 w 109057"/>
                  <a:gd name="connsiteY13" fmla="*/ 54198 h 89228"/>
                  <a:gd name="connsiteX14" fmla="*/ 15863 w 109057"/>
                  <a:gd name="connsiteY14" fmla="*/ 53868 h 89228"/>
                  <a:gd name="connsiteX15" fmla="*/ 35030 w 109057"/>
                  <a:gd name="connsiteY15" fmla="*/ 68078 h 89228"/>
                  <a:gd name="connsiteX16" fmla="*/ 9914 w 109057"/>
                  <a:gd name="connsiteY16" fmla="*/ 76670 h 89228"/>
                  <a:gd name="connsiteX17" fmla="*/ 4957 w 109057"/>
                  <a:gd name="connsiteY17" fmla="*/ 76340 h 89228"/>
                  <a:gd name="connsiteX18" fmla="*/ 36022 w 109057"/>
                  <a:gd name="connsiteY18" fmla="*/ 85593 h 89228"/>
                  <a:gd name="connsiteX19" fmla="*/ 93855 w 109057"/>
                  <a:gd name="connsiteY19" fmla="*/ 27760 h 89228"/>
                  <a:gd name="connsiteX20" fmla="*/ 93855 w 109057"/>
                  <a:gd name="connsiteY20" fmla="*/ 25116 h 89228"/>
                  <a:gd name="connsiteX21" fmla="*/ 104100 w 109057"/>
                  <a:gd name="connsiteY21" fmla="*/ 14210 h 89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9057" h="89228">
                    <a:moveTo>
                      <a:pt x="104100" y="14210"/>
                    </a:moveTo>
                    <a:cubicBezTo>
                      <a:pt x="100465" y="15863"/>
                      <a:pt x="96499" y="16854"/>
                      <a:pt x="92533" y="17515"/>
                    </a:cubicBezTo>
                    <a:cubicBezTo>
                      <a:pt x="96829" y="14871"/>
                      <a:pt x="99804" y="10906"/>
                      <a:pt x="101456" y="6279"/>
                    </a:cubicBezTo>
                    <a:cubicBezTo>
                      <a:pt x="97490" y="8592"/>
                      <a:pt x="93194" y="10245"/>
                      <a:pt x="88568" y="11236"/>
                    </a:cubicBezTo>
                    <a:cubicBezTo>
                      <a:pt x="84932" y="7270"/>
                      <a:pt x="79645" y="4957"/>
                      <a:pt x="73696" y="4957"/>
                    </a:cubicBezTo>
                    <a:cubicBezTo>
                      <a:pt x="62460" y="4957"/>
                      <a:pt x="53207" y="14210"/>
                      <a:pt x="53207" y="25447"/>
                    </a:cubicBezTo>
                    <a:cubicBezTo>
                      <a:pt x="53207" y="27099"/>
                      <a:pt x="53537" y="28751"/>
                      <a:pt x="53868" y="30073"/>
                    </a:cubicBezTo>
                    <a:cubicBezTo>
                      <a:pt x="37013" y="29082"/>
                      <a:pt x="21811" y="21150"/>
                      <a:pt x="11897" y="8923"/>
                    </a:cubicBezTo>
                    <a:cubicBezTo>
                      <a:pt x="10245" y="11897"/>
                      <a:pt x="9253" y="15532"/>
                      <a:pt x="9253" y="19168"/>
                    </a:cubicBezTo>
                    <a:cubicBezTo>
                      <a:pt x="9253" y="26108"/>
                      <a:pt x="12889" y="32387"/>
                      <a:pt x="18176" y="36022"/>
                    </a:cubicBezTo>
                    <a:cubicBezTo>
                      <a:pt x="14871" y="36022"/>
                      <a:pt x="11567" y="35030"/>
                      <a:pt x="8923" y="33378"/>
                    </a:cubicBezTo>
                    <a:cubicBezTo>
                      <a:pt x="8923" y="33378"/>
                      <a:pt x="8923" y="33709"/>
                      <a:pt x="8923" y="33709"/>
                    </a:cubicBezTo>
                    <a:cubicBezTo>
                      <a:pt x="8923" y="43623"/>
                      <a:pt x="15863" y="51885"/>
                      <a:pt x="25116" y="53537"/>
                    </a:cubicBezTo>
                    <a:cubicBezTo>
                      <a:pt x="23464" y="53868"/>
                      <a:pt x="21481" y="54198"/>
                      <a:pt x="19829" y="54198"/>
                    </a:cubicBezTo>
                    <a:cubicBezTo>
                      <a:pt x="18507" y="54198"/>
                      <a:pt x="17185" y="54198"/>
                      <a:pt x="15863" y="53868"/>
                    </a:cubicBezTo>
                    <a:cubicBezTo>
                      <a:pt x="18507" y="61799"/>
                      <a:pt x="26108" y="67748"/>
                      <a:pt x="35030" y="68078"/>
                    </a:cubicBezTo>
                    <a:cubicBezTo>
                      <a:pt x="28090" y="73696"/>
                      <a:pt x="19168" y="76670"/>
                      <a:pt x="9914" y="76670"/>
                    </a:cubicBezTo>
                    <a:cubicBezTo>
                      <a:pt x="8262" y="76670"/>
                      <a:pt x="6610" y="76670"/>
                      <a:pt x="4957" y="76340"/>
                    </a:cubicBezTo>
                    <a:cubicBezTo>
                      <a:pt x="13880" y="81958"/>
                      <a:pt x="24786" y="85593"/>
                      <a:pt x="36022" y="85593"/>
                    </a:cubicBezTo>
                    <a:cubicBezTo>
                      <a:pt x="73366" y="85593"/>
                      <a:pt x="93855" y="54529"/>
                      <a:pt x="93855" y="27760"/>
                    </a:cubicBezTo>
                    <a:cubicBezTo>
                      <a:pt x="93855" y="26769"/>
                      <a:pt x="93855" y="26108"/>
                      <a:pt x="93855" y="25116"/>
                    </a:cubicBezTo>
                    <a:cubicBezTo>
                      <a:pt x="97821" y="21811"/>
                      <a:pt x="101456" y="18176"/>
                      <a:pt x="104100" y="14210"/>
                    </a:cubicBezTo>
                  </a:path>
                </a:pathLst>
              </a:custGeom>
              <a:noFill/>
              <a:ln w="12700" cap="rnd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C18136FA-2640-4E77-9A52-65F40A1277D4}"/>
                  </a:ext>
                </a:extLst>
              </p:cNvPr>
              <p:cNvSpPr/>
              <p:nvPr/>
            </p:nvSpPr>
            <p:spPr>
              <a:xfrm>
                <a:off x="1505046" y="1844502"/>
                <a:ext cx="132190" cy="132190"/>
              </a:xfrm>
              <a:custGeom>
                <a:avLst/>
                <a:gdLst>
                  <a:gd name="connsiteX0" fmla="*/ 4957 w 132190"/>
                  <a:gd name="connsiteY0" fmla="*/ 82949 h 132190"/>
                  <a:gd name="connsiteX1" fmla="*/ 4957 w 132190"/>
                  <a:gd name="connsiteY1" fmla="*/ 26769 h 132190"/>
                  <a:gd name="connsiteX2" fmla="*/ 26769 w 132190"/>
                  <a:gd name="connsiteY2" fmla="*/ 4957 h 132190"/>
                  <a:gd name="connsiteX3" fmla="*/ 108396 w 132190"/>
                  <a:gd name="connsiteY3" fmla="*/ 4957 h 132190"/>
                  <a:gd name="connsiteX4" fmla="*/ 130208 w 132190"/>
                  <a:gd name="connsiteY4" fmla="*/ 26769 h 132190"/>
                  <a:gd name="connsiteX5" fmla="*/ 130208 w 132190"/>
                  <a:gd name="connsiteY5" fmla="*/ 108396 h 132190"/>
                  <a:gd name="connsiteX6" fmla="*/ 108396 w 132190"/>
                  <a:gd name="connsiteY6" fmla="*/ 130208 h 132190"/>
                  <a:gd name="connsiteX7" fmla="*/ 56181 w 132190"/>
                  <a:gd name="connsiteY7" fmla="*/ 130208 h 132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190" h="132190">
                    <a:moveTo>
                      <a:pt x="4957" y="82949"/>
                    </a:moveTo>
                    <a:lnTo>
                      <a:pt x="4957" y="26769"/>
                    </a:lnTo>
                    <a:cubicBezTo>
                      <a:pt x="4957" y="14871"/>
                      <a:pt x="14541" y="4957"/>
                      <a:pt x="26769" y="4957"/>
                    </a:cubicBezTo>
                    <a:lnTo>
                      <a:pt x="108396" y="4957"/>
                    </a:lnTo>
                    <a:cubicBezTo>
                      <a:pt x="120293" y="4957"/>
                      <a:pt x="130208" y="14541"/>
                      <a:pt x="130208" y="26769"/>
                    </a:cubicBezTo>
                    <a:lnTo>
                      <a:pt x="130208" y="108396"/>
                    </a:lnTo>
                    <a:cubicBezTo>
                      <a:pt x="130208" y="120293"/>
                      <a:pt x="120624" y="130208"/>
                      <a:pt x="108396" y="130208"/>
                    </a:cubicBezTo>
                    <a:lnTo>
                      <a:pt x="56181" y="130208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60D0BB67-9C9B-4F00-91D3-5C4CD25820EC}"/>
                  </a:ext>
                </a:extLst>
              </p:cNvPr>
              <p:cNvSpPr/>
              <p:nvPr/>
            </p:nvSpPr>
            <p:spPr>
              <a:xfrm>
                <a:off x="1532475" y="1872262"/>
                <a:ext cx="79314" cy="79314"/>
              </a:xfrm>
              <a:custGeom>
                <a:avLst/>
                <a:gdLst>
                  <a:gd name="connsiteX0" fmla="*/ 75018 w 79314"/>
                  <a:gd name="connsiteY0" fmla="*/ 39988 h 79314"/>
                  <a:gd name="connsiteX1" fmla="*/ 39988 w 79314"/>
                  <a:gd name="connsiteY1" fmla="*/ 75018 h 79314"/>
                  <a:gd name="connsiteX2" fmla="*/ 4957 w 79314"/>
                  <a:gd name="connsiteY2" fmla="*/ 39988 h 79314"/>
                  <a:gd name="connsiteX3" fmla="*/ 39988 w 79314"/>
                  <a:gd name="connsiteY3" fmla="*/ 4957 h 79314"/>
                  <a:gd name="connsiteX4" fmla="*/ 75018 w 79314"/>
                  <a:gd name="connsiteY4" fmla="*/ 39988 h 7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4" h="79314">
                    <a:moveTo>
                      <a:pt x="75018" y="39988"/>
                    </a:moveTo>
                    <a:cubicBezTo>
                      <a:pt x="75018" y="59334"/>
                      <a:pt x="59334" y="75018"/>
                      <a:pt x="39988" y="75018"/>
                    </a:cubicBezTo>
                    <a:cubicBezTo>
                      <a:pt x="20641" y="75018"/>
                      <a:pt x="4957" y="59334"/>
                      <a:pt x="4957" y="39988"/>
                    </a:cubicBezTo>
                    <a:cubicBezTo>
                      <a:pt x="4957" y="20641"/>
                      <a:pt x="20641" y="4957"/>
                      <a:pt x="39988" y="4957"/>
                    </a:cubicBezTo>
                    <a:cubicBezTo>
                      <a:pt x="59334" y="4957"/>
                      <a:pt x="75018" y="20641"/>
                      <a:pt x="75018" y="3998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29AD7611-8C0A-4B2F-9CAA-B7D74EC08A7E}"/>
                  </a:ext>
                </a:extLst>
              </p:cNvPr>
              <p:cNvSpPr/>
              <p:nvPr/>
            </p:nvSpPr>
            <p:spPr>
              <a:xfrm>
                <a:off x="1597248" y="1859043"/>
                <a:ext cx="26438" cy="26438"/>
              </a:xfrm>
              <a:custGeom>
                <a:avLst/>
                <a:gdLst>
                  <a:gd name="connsiteX0" fmla="*/ 24125 w 26438"/>
                  <a:gd name="connsiteY0" fmla="*/ 14541 h 26438"/>
                  <a:gd name="connsiteX1" fmla="*/ 14541 w 26438"/>
                  <a:gd name="connsiteY1" fmla="*/ 24125 h 26438"/>
                  <a:gd name="connsiteX2" fmla="*/ 4957 w 26438"/>
                  <a:gd name="connsiteY2" fmla="*/ 14541 h 26438"/>
                  <a:gd name="connsiteX3" fmla="*/ 14541 w 26438"/>
                  <a:gd name="connsiteY3" fmla="*/ 4957 h 26438"/>
                  <a:gd name="connsiteX4" fmla="*/ 24125 w 26438"/>
                  <a:gd name="connsiteY4" fmla="*/ 14541 h 2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38" h="26438">
                    <a:moveTo>
                      <a:pt x="24125" y="14541"/>
                    </a:moveTo>
                    <a:cubicBezTo>
                      <a:pt x="24125" y="19834"/>
                      <a:pt x="19834" y="24125"/>
                      <a:pt x="14541" y="24125"/>
                    </a:cubicBezTo>
                    <a:cubicBezTo>
                      <a:pt x="9248" y="24125"/>
                      <a:pt x="4957" y="19834"/>
                      <a:pt x="4957" y="14541"/>
                    </a:cubicBezTo>
                    <a:cubicBezTo>
                      <a:pt x="4957" y="9248"/>
                      <a:pt x="9248" y="4957"/>
                      <a:pt x="14541" y="4957"/>
                    </a:cubicBezTo>
                    <a:cubicBezTo>
                      <a:pt x="19834" y="4957"/>
                      <a:pt x="24125" y="9248"/>
                      <a:pt x="24125" y="14541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DCDE056-7730-4718-B8EA-5749AEA3C92C}"/>
                  </a:ext>
                </a:extLst>
              </p:cNvPr>
              <p:cNvSpPr/>
              <p:nvPr/>
            </p:nvSpPr>
            <p:spPr>
              <a:xfrm>
                <a:off x="1460762" y="1964135"/>
                <a:ext cx="62790" cy="112362"/>
              </a:xfrm>
              <a:custGeom>
                <a:avLst/>
                <a:gdLst>
                  <a:gd name="connsiteX0" fmla="*/ 21150 w 62790"/>
                  <a:gd name="connsiteY0" fmla="*/ 109057 h 112361"/>
                  <a:gd name="connsiteX1" fmla="*/ 21150 w 62790"/>
                  <a:gd name="connsiteY1" fmla="*/ 61469 h 112361"/>
                  <a:gd name="connsiteX2" fmla="*/ 4957 w 62790"/>
                  <a:gd name="connsiteY2" fmla="*/ 61469 h 112361"/>
                  <a:gd name="connsiteX3" fmla="*/ 4957 w 62790"/>
                  <a:gd name="connsiteY3" fmla="*/ 42962 h 112361"/>
                  <a:gd name="connsiteX4" fmla="*/ 21150 w 62790"/>
                  <a:gd name="connsiteY4" fmla="*/ 42962 h 112361"/>
                  <a:gd name="connsiteX5" fmla="*/ 21150 w 62790"/>
                  <a:gd name="connsiteY5" fmla="*/ 29412 h 112361"/>
                  <a:gd name="connsiteX6" fmla="*/ 44945 w 62790"/>
                  <a:gd name="connsiteY6" fmla="*/ 4957 h 112361"/>
                  <a:gd name="connsiteX7" fmla="*/ 59155 w 62790"/>
                  <a:gd name="connsiteY7" fmla="*/ 5618 h 112361"/>
                  <a:gd name="connsiteX8" fmla="*/ 59155 w 62790"/>
                  <a:gd name="connsiteY8" fmla="*/ 22142 h 112361"/>
                  <a:gd name="connsiteX9" fmla="*/ 49241 w 62790"/>
                  <a:gd name="connsiteY9" fmla="*/ 22142 h 112361"/>
                  <a:gd name="connsiteX10" fmla="*/ 39988 w 62790"/>
                  <a:gd name="connsiteY10" fmla="*/ 31065 h 112361"/>
                  <a:gd name="connsiteX11" fmla="*/ 39988 w 62790"/>
                  <a:gd name="connsiteY11" fmla="*/ 42962 h 112361"/>
                  <a:gd name="connsiteX12" fmla="*/ 58494 w 62790"/>
                  <a:gd name="connsiteY12" fmla="*/ 42962 h 112361"/>
                  <a:gd name="connsiteX13" fmla="*/ 56181 w 62790"/>
                  <a:gd name="connsiteY13" fmla="*/ 61469 h 112361"/>
                  <a:gd name="connsiteX14" fmla="*/ 40318 w 62790"/>
                  <a:gd name="connsiteY14" fmla="*/ 61469 h 112361"/>
                  <a:gd name="connsiteX15" fmla="*/ 40318 w 62790"/>
                  <a:gd name="connsiteY15" fmla="*/ 109057 h 112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2790" h="112361">
                    <a:moveTo>
                      <a:pt x="21150" y="109057"/>
                    </a:moveTo>
                    <a:lnTo>
                      <a:pt x="21150" y="61469"/>
                    </a:lnTo>
                    <a:lnTo>
                      <a:pt x="4957" y="61469"/>
                    </a:lnTo>
                    <a:lnTo>
                      <a:pt x="4957" y="42962"/>
                    </a:lnTo>
                    <a:lnTo>
                      <a:pt x="21150" y="42962"/>
                    </a:lnTo>
                    <a:lnTo>
                      <a:pt x="21150" y="29412"/>
                    </a:lnTo>
                    <a:cubicBezTo>
                      <a:pt x="21150" y="13550"/>
                      <a:pt x="30734" y="4957"/>
                      <a:pt x="44945" y="4957"/>
                    </a:cubicBezTo>
                    <a:cubicBezTo>
                      <a:pt x="51885" y="4957"/>
                      <a:pt x="59155" y="5618"/>
                      <a:pt x="59155" y="5618"/>
                    </a:cubicBezTo>
                    <a:lnTo>
                      <a:pt x="59155" y="22142"/>
                    </a:lnTo>
                    <a:cubicBezTo>
                      <a:pt x="59155" y="22142"/>
                      <a:pt x="54198" y="22142"/>
                      <a:pt x="49241" y="22142"/>
                    </a:cubicBezTo>
                    <a:cubicBezTo>
                      <a:pt x="41640" y="22142"/>
                      <a:pt x="39988" y="25777"/>
                      <a:pt x="39988" y="31065"/>
                    </a:cubicBezTo>
                    <a:lnTo>
                      <a:pt x="39988" y="42962"/>
                    </a:lnTo>
                    <a:lnTo>
                      <a:pt x="58494" y="42962"/>
                    </a:lnTo>
                    <a:lnTo>
                      <a:pt x="56181" y="61469"/>
                    </a:lnTo>
                    <a:lnTo>
                      <a:pt x="40318" y="61469"/>
                    </a:lnTo>
                    <a:lnTo>
                      <a:pt x="40318" y="1090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3DCDC389-26F9-4426-9A9E-2C406B4FEAE9}"/>
                  </a:ext>
                </a:extLst>
              </p:cNvPr>
              <p:cNvSpPr/>
              <p:nvPr/>
            </p:nvSpPr>
            <p:spPr>
              <a:xfrm>
                <a:off x="1408547" y="1940671"/>
                <a:ext cx="135495" cy="135495"/>
              </a:xfrm>
              <a:custGeom>
                <a:avLst/>
                <a:gdLst>
                  <a:gd name="connsiteX0" fmla="*/ 132190 w 135495"/>
                  <a:gd name="connsiteY0" fmla="*/ 11567 h 135495"/>
                  <a:gd name="connsiteX1" fmla="*/ 132190 w 135495"/>
                  <a:gd name="connsiteY1" fmla="*/ 125581 h 135495"/>
                  <a:gd name="connsiteX2" fmla="*/ 125581 w 135495"/>
                  <a:gd name="connsiteY2" fmla="*/ 132190 h 135495"/>
                  <a:gd name="connsiteX3" fmla="*/ 11567 w 135495"/>
                  <a:gd name="connsiteY3" fmla="*/ 132190 h 135495"/>
                  <a:gd name="connsiteX4" fmla="*/ 4957 w 135495"/>
                  <a:gd name="connsiteY4" fmla="*/ 125581 h 135495"/>
                  <a:gd name="connsiteX5" fmla="*/ 4957 w 135495"/>
                  <a:gd name="connsiteY5" fmla="*/ 11567 h 135495"/>
                  <a:gd name="connsiteX6" fmla="*/ 11567 w 135495"/>
                  <a:gd name="connsiteY6" fmla="*/ 4957 h 135495"/>
                  <a:gd name="connsiteX7" fmla="*/ 125581 w 135495"/>
                  <a:gd name="connsiteY7" fmla="*/ 4957 h 135495"/>
                  <a:gd name="connsiteX8" fmla="*/ 132190 w 135495"/>
                  <a:gd name="connsiteY8" fmla="*/ 11567 h 135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495" h="135495">
                    <a:moveTo>
                      <a:pt x="132190" y="11567"/>
                    </a:moveTo>
                    <a:lnTo>
                      <a:pt x="132190" y="125581"/>
                    </a:lnTo>
                    <a:cubicBezTo>
                      <a:pt x="132190" y="129216"/>
                      <a:pt x="129216" y="132190"/>
                      <a:pt x="125581" y="132190"/>
                    </a:cubicBezTo>
                    <a:lnTo>
                      <a:pt x="11567" y="132190"/>
                    </a:lnTo>
                    <a:cubicBezTo>
                      <a:pt x="7931" y="132190"/>
                      <a:pt x="4957" y="129216"/>
                      <a:pt x="4957" y="125581"/>
                    </a:cubicBezTo>
                    <a:lnTo>
                      <a:pt x="4957" y="11567"/>
                    </a:lnTo>
                    <a:cubicBezTo>
                      <a:pt x="4957" y="7931"/>
                      <a:pt x="7931" y="4957"/>
                      <a:pt x="11567" y="4957"/>
                    </a:cubicBezTo>
                    <a:lnTo>
                      <a:pt x="125581" y="4957"/>
                    </a:lnTo>
                    <a:cubicBezTo>
                      <a:pt x="129216" y="4957"/>
                      <a:pt x="132190" y="7931"/>
                      <a:pt x="132190" y="11567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78308772-C701-475F-BB33-00C7404E9972}"/>
                </a:ext>
              </a:extLst>
            </p:cNvPr>
            <p:cNvGrpSpPr/>
            <p:nvPr/>
          </p:nvGrpSpPr>
          <p:grpSpPr>
            <a:xfrm>
              <a:off x="10038181" y="-526854"/>
              <a:ext cx="1009236" cy="963524"/>
              <a:chOff x="9506051" y="-1710191"/>
              <a:chExt cx="1386130" cy="1323347"/>
            </a:xfrm>
          </p:grpSpPr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64ABAD63-04D6-4BEC-8513-D751FB688620}"/>
                  </a:ext>
                </a:extLst>
              </p:cNvPr>
              <p:cNvSpPr/>
              <p:nvPr/>
            </p:nvSpPr>
            <p:spPr>
              <a:xfrm>
                <a:off x="9991772" y="-816394"/>
                <a:ext cx="165212" cy="429550"/>
              </a:xfrm>
              <a:custGeom>
                <a:avLst/>
                <a:gdLst>
                  <a:gd name="connsiteX0" fmla="*/ 4097 w 27312"/>
                  <a:gd name="connsiteY0" fmla="*/ 69373 h 71011"/>
                  <a:gd name="connsiteX1" fmla="*/ 24308 w 27312"/>
                  <a:gd name="connsiteY1" fmla="*/ 4097 h 71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312" h="71011">
                    <a:moveTo>
                      <a:pt x="4097" y="69373"/>
                    </a:moveTo>
                    <a:lnTo>
                      <a:pt x="24308" y="4097"/>
                    </a:lnTo>
                  </a:path>
                </a:pathLst>
              </a:custGeom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5B3BD151-9A59-44EE-8593-46F2B3165970}"/>
                  </a:ext>
                </a:extLst>
              </p:cNvPr>
              <p:cNvSpPr/>
              <p:nvPr/>
            </p:nvSpPr>
            <p:spPr>
              <a:xfrm>
                <a:off x="9506051" y="-988212"/>
                <a:ext cx="512156" cy="49566"/>
              </a:xfrm>
              <a:custGeom>
                <a:avLst/>
                <a:gdLst>
                  <a:gd name="connsiteX0" fmla="*/ 4097 w 84667"/>
                  <a:gd name="connsiteY0" fmla="*/ 4097 h 8193"/>
                  <a:gd name="connsiteX1" fmla="*/ 82756 w 84667"/>
                  <a:gd name="connsiteY1" fmla="*/ 4097 h 8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67" h="8193">
                    <a:moveTo>
                      <a:pt x="4097" y="4097"/>
                    </a:moveTo>
                    <a:lnTo>
                      <a:pt x="82756" y="4097"/>
                    </a:lnTo>
                  </a:path>
                </a:pathLst>
              </a:custGeom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99F01104-0D29-4AD3-96E0-25C94A1F7825}"/>
                  </a:ext>
                </a:extLst>
              </p:cNvPr>
              <p:cNvSpPr/>
              <p:nvPr/>
            </p:nvSpPr>
            <p:spPr>
              <a:xfrm>
                <a:off x="9857949" y="-1710191"/>
                <a:ext cx="297384" cy="528682"/>
              </a:xfrm>
              <a:custGeom>
                <a:avLst/>
                <a:gdLst>
                  <a:gd name="connsiteX0" fmla="*/ 4097 w 49161"/>
                  <a:gd name="connsiteY0" fmla="*/ 4097 h 87398"/>
                  <a:gd name="connsiteX1" fmla="*/ 45065 w 49161"/>
                  <a:gd name="connsiteY1" fmla="*/ 84394 h 8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161" h="87398">
                    <a:moveTo>
                      <a:pt x="4097" y="4097"/>
                    </a:moveTo>
                    <a:lnTo>
                      <a:pt x="45065" y="84394"/>
                    </a:lnTo>
                  </a:path>
                </a:pathLst>
              </a:custGeom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EB48590-498F-4D3D-B00D-4A338BD772EE}"/>
                  </a:ext>
                </a:extLst>
              </p:cNvPr>
              <p:cNvSpPr/>
              <p:nvPr/>
            </p:nvSpPr>
            <p:spPr>
              <a:xfrm>
                <a:off x="10297413" y="-1478893"/>
                <a:ext cx="231298" cy="297384"/>
              </a:xfrm>
              <a:custGeom>
                <a:avLst/>
                <a:gdLst>
                  <a:gd name="connsiteX0" fmla="*/ 36052 w 38236"/>
                  <a:gd name="connsiteY0" fmla="*/ 4097 h 49161"/>
                  <a:gd name="connsiteX1" fmla="*/ 4097 w 38236"/>
                  <a:gd name="connsiteY1" fmla="*/ 46157 h 49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236" h="49161">
                    <a:moveTo>
                      <a:pt x="36052" y="4097"/>
                    </a:moveTo>
                    <a:lnTo>
                      <a:pt x="4097" y="46157"/>
                    </a:lnTo>
                  </a:path>
                </a:pathLst>
              </a:custGeom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0397FA18-A6CB-48E9-867A-3C2CFC0940FB}"/>
                  </a:ext>
                </a:extLst>
              </p:cNvPr>
              <p:cNvSpPr/>
              <p:nvPr/>
            </p:nvSpPr>
            <p:spPr>
              <a:xfrm>
                <a:off x="9970298" y="-1242641"/>
                <a:ext cx="479116" cy="479116"/>
              </a:xfrm>
              <a:custGeom>
                <a:avLst/>
                <a:gdLst>
                  <a:gd name="connsiteX0" fmla="*/ 76747 w 79204"/>
                  <a:gd name="connsiteY0" fmla="*/ 40422 h 79204"/>
                  <a:gd name="connsiteX1" fmla="*/ 40422 w 79204"/>
                  <a:gd name="connsiteY1" fmla="*/ 76747 h 79204"/>
                  <a:gd name="connsiteX2" fmla="*/ 4097 w 79204"/>
                  <a:gd name="connsiteY2" fmla="*/ 40422 h 79204"/>
                  <a:gd name="connsiteX3" fmla="*/ 40422 w 79204"/>
                  <a:gd name="connsiteY3" fmla="*/ 4097 h 79204"/>
                  <a:gd name="connsiteX4" fmla="*/ 76747 w 79204"/>
                  <a:gd name="connsiteY4" fmla="*/ 40422 h 7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204" h="79204">
                    <a:moveTo>
                      <a:pt x="76747" y="40422"/>
                    </a:moveTo>
                    <a:cubicBezTo>
                      <a:pt x="76747" y="60484"/>
                      <a:pt x="60484" y="76747"/>
                      <a:pt x="40422" y="76747"/>
                    </a:cubicBezTo>
                    <a:cubicBezTo>
                      <a:pt x="20360" y="76747"/>
                      <a:pt x="4097" y="60484"/>
                      <a:pt x="4097" y="40422"/>
                    </a:cubicBezTo>
                    <a:cubicBezTo>
                      <a:pt x="4097" y="20360"/>
                      <a:pt x="20360" y="4097"/>
                      <a:pt x="40422" y="4097"/>
                    </a:cubicBezTo>
                    <a:cubicBezTo>
                      <a:pt x="60484" y="4097"/>
                      <a:pt x="76747" y="20360"/>
                      <a:pt x="76747" y="4042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15457BB1-496C-43F3-A8A9-AE91588921C3}"/>
                  </a:ext>
                </a:extLst>
              </p:cNvPr>
              <p:cNvSpPr/>
              <p:nvPr/>
            </p:nvSpPr>
            <p:spPr>
              <a:xfrm>
                <a:off x="10380025" y="-915520"/>
                <a:ext cx="512156" cy="330424"/>
              </a:xfrm>
              <a:custGeom>
                <a:avLst/>
                <a:gdLst>
                  <a:gd name="connsiteX0" fmla="*/ 81390 w 84667"/>
                  <a:gd name="connsiteY0" fmla="*/ 50527 h 54624"/>
                  <a:gd name="connsiteX1" fmla="*/ 4097 w 84667"/>
                  <a:gd name="connsiteY1" fmla="*/ 4097 h 54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4667" h="54624">
                    <a:moveTo>
                      <a:pt x="81390" y="50527"/>
                    </a:moveTo>
                    <a:lnTo>
                      <a:pt x="4097" y="4097"/>
                    </a:lnTo>
                  </a:path>
                </a:pathLst>
              </a:custGeom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  <p:grpSp>
          <p:nvGrpSpPr>
            <p:cNvPr id="65" name="Graphic 186">
              <a:extLst>
                <a:ext uri="{FF2B5EF4-FFF2-40B4-BE49-F238E27FC236}">
                  <a16:creationId xmlns:a16="http://schemas.microsoft.com/office/drawing/2014/main" id="{C26CD30A-6940-49FF-A468-D4A52D3EEA90}"/>
                </a:ext>
              </a:extLst>
            </p:cNvPr>
            <p:cNvGrpSpPr/>
            <p:nvPr/>
          </p:nvGrpSpPr>
          <p:grpSpPr>
            <a:xfrm>
              <a:off x="10082341" y="512183"/>
              <a:ext cx="539291" cy="448381"/>
              <a:chOff x="1935294" y="6191346"/>
              <a:chExt cx="382369" cy="317912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DD316173-1A1E-4104-9E65-0AB556D2AA85}"/>
                  </a:ext>
                </a:extLst>
              </p:cNvPr>
              <p:cNvSpPr/>
              <p:nvPr/>
            </p:nvSpPr>
            <p:spPr>
              <a:xfrm>
                <a:off x="1935294" y="6255256"/>
                <a:ext cx="382369" cy="254002"/>
              </a:xfrm>
              <a:custGeom>
                <a:avLst/>
                <a:gdLst>
                  <a:gd name="connsiteX0" fmla="*/ 371444 w 382368"/>
                  <a:gd name="connsiteY0" fmla="*/ 252363 h 254002"/>
                  <a:gd name="connsiteX1" fmla="*/ 10925 w 382368"/>
                  <a:gd name="connsiteY1" fmla="*/ 252363 h 254002"/>
                  <a:gd name="connsiteX2" fmla="*/ 4097 w 382368"/>
                  <a:gd name="connsiteY2" fmla="*/ 245535 h 254002"/>
                  <a:gd name="connsiteX3" fmla="*/ 4097 w 382368"/>
                  <a:gd name="connsiteY3" fmla="*/ 10925 h 254002"/>
                  <a:gd name="connsiteX4" fmla="*/ 10925 w 382368"/>
                  <a:gd name="connsiteY4" fmla="*/ 4097 h 254002"/>
                  <a:gd name="connsiteX5" fmla="*/ 371444 w 382368"/>
                  <a:gd name="connsiteY5" fmla="*/ 4097 h 254002"/>
                  <a:gd name="connsiteX6" fmla="*/ 378272 w 382368"/>
                  <a:gd name="connsiteY6" fmla="*/ 10925 h 254002"/>
                  <a:gd name="connsiteX7" fmla="*/ 378272 w 382368"/>
                  <a:gd name="connsiteY7" fmla="*/ 245535 h 254002"/>
                  <a:gd name="connsiteX8" fmla="*/ 371444 w 382368"/>
                  <a:gd name="connsiteY8" fmla="*/ 252363 h 254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2368" h="254002">
                    <a:moveTo>
                      <a:pt x="371444" y="252363"/>
                    </a:moveTo>
                    <a:lnTo>
                      <a:pt x="10925" y="252363"/>
                    </a:lnTo>
                    <a:cubicBezTo>
                      <a:pt x="7101" y="252363"/>
                      <a:pt x="4097" y="249359"/>
                      <a:pt x="4097" y="245535"/>
                    </a:cubicBezTo>
                    <a:lnTo>
                      <a:pt x="4097" y="10925"/>
                    </a:lnTo>
                    <a:cubicBezTo>
                      <a:pt x="4097" y="7101"/>
                      <a:pt x="7101" y="4097"/>
                      <a:pt x="10925" y="4097"/>
                    </a:cubicBezTo>
                    <a:lnTo>
                      <a:pt x="371444" y="4097"/>
                    </a:lnTo>
                    <a:cubicBezTo>
                      <a:pt x="375268" y="4097"/>
                      <a:pt x="378272" y="7101"/>
                      <a:pt x="378272" y="10925"/>
                    </a:cubicBezTo>
                    <a:lnTo>
                      <a:pt x="378272" y="245535"/>
                    </a:lnTo>
                    <a:cubicBezTo>
                      <a:pt x="378272" y="249359"/>
                      <a:pt x="374994" y="252363"/>
                      <a:pt x="371444" y="252363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5B6B2658-68B3-46A4-8A34-C9740F4C4C8B}"/>
                  </a:ext>
                </a:extLst>
              </p:cNvPr>
              <p:cNvSpPr/>
              <p:nvPr/>
            </p:nvSpPr>
            <p:spPr>
              <a:xfrm>
                <a:off x="2048912" y="6303872"/>
                <a:ext cx="152947" cy="152947"/>
              </a:xfrm>
              <a:custGeom>
                <a:avLst/>
                <a:gdLst>
                  <a:gd name="connsiteX0" fmla="*/ 151036 w 152947"/>
                  <a:gd name="connsiteY0" fmla="*/ 50800 h 152947"/>
                  <a:gd name="connsiteX1" fmla="*/ 104059 w 152947"/>
                  <a:gd name="connsiteY1" fmla="*/ 50800 h 152947"/>
                  <a:gd name="connsiteX2" fmla="*/ 104059 w 152947"/>
                  <a:gd name="connsiteY2" fmla="*/ 4097 h 152947"/>
                  <a:gd name="connsiteX3" fmla="*/ 51074 w 152947"/>
                  <a:gd name="connsiteY3" fmla="*/ 4097 h 152947"/>
                  <a:gd name="connsiteX4" fmla="*/ 51074 w 152947"/>
                  <a:gd name="connsiteY4" fmla="*/ 50800 h 152947"/>
                  <a:gd name="connsiteX5" fmla="*/ 4097 w 152947"/>
                  <a:gd name="connsiteY5" fmla="*/ 50800 h 152947"/>
                  <a:gd name="connsiteX6" fmla="*/ 4097 w 152947"/>
                  <a:gd name="connsiteY6" fmla="*/ 104059 h 152947"/>
                  <a:gd name="connsiteX7" fmla="*/ 51074 w 152947"/>
                  <a:gd name="connsiteY7" fmla="*/ 104059 h 152947"/>
                  <a:gd name="connsiteX8" fmla="*/ 51074 w 152947"/>
                  <a:gd name="connsiteY8" fmla="*/ 150763 h 152947"/>
                  <a:gd name="connsiteX9" fmla="*/ 104059 w 152947"/>
                  <a:gd name="connsiteY9" fmla="*/ 150763 h 152947"/>
                  <a:gd name="connsiteX10" fmla="*/ 104059 w 152947"/>
                  <a:gd name="connsiteY10" fmla="*/ 104059 h 152947"/>
                  <a:gd name="connsiteX11" fmla="*/ 151036 w 152947"/>
                  <a:gd name="connsiteY11" fmla="*/ 104059 h 15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947" h="152947">
                    <a:moveTo>
                      <a:pt x="151036" y="50800"/>
                    </a:moveTo>
                    <a:lnTo>
                      <a:pt x="104059" y="50800"/>
                    </a:lnTo>
                    <a:lnTo>
                      <a:pt x="104059" y="4097"/>
                    </a:lnTo>
                    <a:lnTo>
                      <a:pt x="51074" y="4097"/>
                    </a:lnTo>
                    <a:lnTo>
                      <a:pt x="51074" y="50800"/>
                    </a:lnTo>
                    <a:lnTo>
                      <a:pt x="4097" y="50800"/>
                    </a:lnTo>
                    <a:lnTo>
                      <a:pt x="4097" y="104059"/>
                    </a:lnTo>
                    <a:lnTo>
                      <a:pt x="51074" y="104059"/>
                    </a:lnTo>
                    <a:lnTo>
                      <a:pt x="51074" y="150763"/>
                    </a:lnTo>
                    <a:lnTo>
                      <a:pt x="104059" y="150763"/>
                    </a:lnTo>
                    <a:lnTo>
                      <a:pt x="104059" y="104059"/>
                    </a:lnTo>
                    <a:lnTo>
                      <a:pt x="151036" y="104059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172EE4A8-D356-4386-80DB-53544A7CDD9B}"/>
                  </a:ext>
                </a:extLst>
              </p:cNvPr>
              <p:cNvSpPr/>
              <p:nvPr/>
            </p:nvSpPr>
            <p:spPr>
              <a:xfrm>
                <a:off x="2054375" y="6191346"/>
                <a:ext cx="142023" cy="57355"/>
              </a:xfrm>
              <a:custGeom>
                <a:avLst/>
                <a:gdLst>
                  <a:gd name="connsiteX0" fmla="*/ 140111 w 142022"/>
                  <a:gd name="connsiteY0" fmla="*/ 53258 h 57355"/>
                  <a:gd name="connsiteX1" fmla="*/ 140111 w 142022"/>
                  <a:gd name="connsiteY1" fmla="*/ 9286 h 57355"/>
                  <a:gd name="connsiteX2" fmla="*/ 134922 w 142022"/>
                  <a:gd name="connsiteY2" fmla="*/ 4097 h 57355"/>
                  <a:gd name="connsiteX3" fmla="*/ 9286 w 142022"/>
                  <a:gd name="connsiteY3" fmla="*/ 4097 h 57355"/>
                  <a:gd name="connsiteX4" fmla="*/ 4097 w 142022"/>
                  <a:gd name="connsiteY4" fmla="*/ 9286 h 57355"/>
                  <a:gd name="connsiteX5" fmla="*/ 4097 w 142022"/>
                  <a:gd name="connsiteY5" fmla="*/ 53258 h 57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022" h="57355">
                    <a:moveTo>
                      <a:pt x="140111" y="53258"/>
                    </a:moveTo>
                    <a:lnTo>
                      <a:pt x="140111" y="9286"/>
                    </a:lnTo>
                    <a:cubicBezTo>
                      <a:pt x="140111" y="6282"/>
                      <a:pt x="137653" y="4097"/>
                      <a:pt x="134922" y="4097"/>
                    </a:cubicBezTo>
                    <a:lnTo>
                      <a:pt x="9286" y="4097"/>
                    </a:lnTo>
                    <a:cubicBezTo>
                      <a:pt x="6282" y="4097"/>
                      <a:pt x="4097" y="6555"/>
                      <a:pt x="4097" y="9286"/>
                    </a:cubicBezTo>
                    <a:lnTo>
                      <a:pt x="4097" y="53258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B3C290-C4E5-437F-B868-46DFCB34561A}"/>
                  </a:ext>
                </a:extLst>
              </p:cNvPr>
              <p:cNvSpPr/>
              <p:nvPr/>
            </p:nvSpPr>
            <p:spPr>
              <a:xfrm>
                <a:off x="1988250" y="6286319"/>
                <a:ext cx="8194" cy="191876"/>
              </a:xfrm>
              <a:custGeom>
                <a:avLst/>
                <a:gdLst>
                  <a:gd name="connsiteX0" fmla="*/ 4097 w 8193"/>
                  <a:gd name="connsiteY0" fmla="*/ 4097 h 218496"/>
                  <a:gd name="connsiteX1" fmla="*/ 4097 w 8193"/>
                  <a:gd name="connsiteY1" fmla="*/ 215492 h 21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3" h="218496">
                    <a:moveTo>
                      <a:pt x="4097" y="4097"/>
                    </a:moveTo>
                    <a:lnTo>
                      <a:pt x="4097" y="215492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411C32A0-1689-408A-9FA8-573C6E9D654E}"/>
                  </a:ext>
                </a:extLst>
              </p:cNvPr>
              <p:cNvSpPr/>
              <p:nvPr/>
            </p:nvSpPr>
            <p:spPr>
              <a:xfrm>
                <a:off x="2258195" y="6286319"/>
                <a:ext cx="8194" cy="191876"/>
              </a:xfrm>
              <a:custGeom>
                <a:avLst/>
                <a:gdLst>
                  <a:gd name="connsiteX0" fmla="*/ 4097 w 8193"/>
                  <a:gd name="connsiteY0" fmla="*/ 4097 h 218496"/>
                  <a:gd name="connsiteX1" fmla="*/ 4097 w 8193"/>
                  <a:gd name="connsiteY1" fmla="*/ 215492 h 21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93" h="218496">
                    <a:moveTo>
                      <a:pt x="4097" y="4097"/>
                    </a:moveTo>
                    <a:lnTo>
                      <a:pt x="4097" y="215492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B571064-CB65-4586-BF05-B81F0E4025EC}"/>
                </a:ext>
              </a:extLst>
            </p:cNvPr>
            <p:cNvGrpSpPr/>
            <p:nvPr/>
          </p:nvGrpSpPr>
          <p:grpSpPr>
            <a:xfrm>
              <a:off x="9486046" y="-227330"/>
              <a:ext cx="506427" cy="505221"/>
              <a:chOff x="9409432" y="2017200"/>
              <a:chExt cx="273787" cy="273135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C13552B-8B7E-4D81-BD01-BA2C4FFF3FAF}"/>
                  </a:ext>
                </a:extLst>
              </p:cNvPr>
              <p:cNvSpPr/>
              <p:nvPr/>
            </p:nvSpPr>
            <p:spPr>
              <a:xfrm>
                <a:off x="9444550" y="2056871"/>
                <a:ext cx="201598" cy="45521"/>
              </a:xfrm>
              <a:custGeom>
                <a:avLst/>
                <a:gdLst>
                  <a:gd name="connsiteX0" fmla="*/ 4097 w 84667"/>
                  <a:gd name="connsiteY0" fmla="*/ 4097 h 19118"/>
                  <a:gd name="connsiteX1" fmla="*/ 19938 w 84667"/>
                  <a:gd name="connsiteY1" fmla="*/ 13110 h 19118"/>
                  <a:gd name="connsiteX2" fmla="*/ 43426 w 84667"/>
                  <a:gd name="connsiteY2" fmla="*/ 15295 h 19118"/>
                  <a:gd name="connsiteX3" fmla="*/ 63364 w 84667"/>
                  <a:gd name="connsiteY3" fmla="*/ 13929 h 19118"/>
                  <a:gd name="connsiteX4" fmla="*/ 82482 w 84667"/>
                  <a:gd name="connsiteY4" fmla="*/ 5462 h 19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667" h="19118">
                    <a:moveTo>
                      <a:pt x="4097" y="4097"/>
                    </a:moveTo>
                    <a:cubicBezTo>
                      <a:pt x="4097" y="7647"/>
                      <a:pt x="10105" y="10925"/>
                      <a:pt x="19938" y="13110"/>
                    </a:cubicBezTo>
                    <a:cubicBezTo>
                      <a:pt x="26220" y="14475"/>
                      <a:pt x="34413" y="15295"/>
                      <a:pt x="43426" y="15295"/>
                    </a:cubicBezTo>
                    <a:cubicBezTo>
                      <a:pt x="50800" y="15295"/>
                      <a:pt x="57628" y="14748"/>
                      <a:pt x="63364" y="13929"/>
                    </a:cubicBezTo>
                    <a:cubicBezTo>
                      <a:pt x="74016" y="12290"/>
                      <a:pt x="81390" y="9013"/>
                      <a:pt x="82482" y="5462"/>
                    </a:cubicBez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3E5B071-97B0-434F-A73E-A9BB4788F9E2}"/>
                  </a:ext>
                </a:extLst>
              </p:cNvPr>
              <p:cNvSpPr/>
              <p:nvPr/>
            </p:nvSpPr>
            <p:spPr>
              <a:xfrm>
                <a:off x="9473814" y="2017200"/>
                <a:ext cx="136567" cy="273135"/>
              </a:xfrm>
              <a:custGeom>
                <a:avLst/>
                <a:gdLst>
                  <a:gd name="connsiteX0" fmla="*/ 54897 w 57355"/>
                  <a:gd name="connsiteY0" fmla="*/ 57355 h 114710"/>
                  <a:gd name="connsiteX1" fmla="*/ 29497 w 57355"/>
                  <a:gd name="connsiteY1" fmla="*/ 110614 h 114710"/>
                  <a:gd name="connsiteX2" fmla="*/ 4097 w 57355"/>
                  <a:gd name="connsiteY2" fmla="*/ 57355 h 114710"/>
                  <a:gd name="connsiteX3" fmla="*/ 29497 w 57355"/>
                  <a:gd name="connsiteY3" fmla="*/ 4097 h 114710"/>
                  <a:gd name="connsiteX4" fmla="*/ 54897 w 57355"/>
                  <a:gd name="connsiteY4" fmla="*/ 57355 h 11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355" h="114710">
                    <a:moveTo>
                      <a:pt x="54897" y="57355"/>
                    </a:moveTo>
                    <a:cubicBezTo>
                      <a:pt x="54897" y="86769"/>
                      <a:pt x="43525" y="110614"/>
                      <a:pt x="29497" y="110614"/>
                    </a:cubicBezTo>
                    <a:cubicBezTo>
                      <a:pt x="15469" y="110614"/>
                      <a:pt x="4097" y="86769"/>
                      <a:pt x="4097" y="57355"/>
                    </a:cubicBezTo>
                    <a:cubicBezTo>
                      <a:pt x="4097" y="27941"/>
                      <a:pt x="15469" y="4097"/>
                      <a:pt x="29497" y="4097"/>
                    </a:cubicBezTo>
                    <a:cubicBezTo>
                      <a:pt x="43525" y="4097"/>
                      <a:pt x="54897" y="27941"/>
                      <a:pt x="54897" y="5735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6DEC8427-D641-46D1-A2AF-CE11A9222B72}"/>
                  </a:ext>
                </a:extLst>
              </p:cNvPr>
              <p:cNvSpPr/>
              <p:nvPr/>
            </p:nvSpPr>
            <p:spPr>
              <a:xfrm>
                <a:off x="9409432" y="2144014"/>
                <a:ext cx="273135" cy="19511"/>
              </a:xfrm>
              <a:custGeom>
                <a:avLst/>
                <a:gdLst>
                  <a:gd name="connsiteX0" fmla="*/ 4097 w 114710"/>
                  <a:gd name="connsiteY0" fmla="*/ 4097 h 8193"/>
                  <a:gd name="connsiteX1" fmla="*/ 110887 w 114710"/>
                  <a:gd name="connsiteY1" fmla="*/ 4097 h 8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710" h="8193">
                    <a:moveTo>
                      <a:pt x="4097" y="4097"/>
                    </a:moveTo>
                    <a:lnTo>
                      <a:pt x="110887" y="409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2CD6E8E1-9CB2-4901-881A-F205F8F24594}"/>
                  </a:ext>
                </a:extLst>
              </p:cNvPr>
              <p:cNvSpPr/>
              <p:nvPr/>
            </p:nvSpPr>
            <p:spPr>
              <a:xfrm>
                <a:off x="9442600" y="2206443"/>
                <a:ext cx="201598" cy="39019"/>
              </a:xfrm>
              <a:custGeom>
                <a:avLst/>
                <a:gdLst>
                  <a:gd name="connsiteX0" fmla="*/ 4097 w 84667"/>
                  <a:gd name="connsiteY0" fmla="*/ 13656 h 16387"/>
                  <a:gd name="connsiteX1" fmla="*/ 21030 w 84667"/>
                  <a:gd name="connsiteY1" fmla="*/ 6009 h 16387"/>
                  <a:gd name="connsiteX2" fmla="*/ 43153 w 84667"/>
                  <a:gd name="connsiteY2" fmla="*/ 4097 h 16387"/>
                  <a:gd name="connsiteX3" fmla="*/ 64183 w 84667"/>
                  <a:gd name="connsiteY3" fmla="*/ 5736 h 16387"/>
                  <a:gd name="connsiteX4" fmla="*/ 64183 w 84667"/>
                  <a:gd name="connsiteY4" fmla="*/ 5736 h 16387"/>
                  <a:gd name="connsiteX5" fmla="*/ 82482 w 84667"/>
                  <a:gd name="connsiteY5" fmla="*/ 14475 h 16387"/>
                  <a:gd name="connsiteX6" fmla="*/ 82482 w 84667"/>
                  <a:gd name="connsiteY6" fmla="*/ 14475 h 1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667" h="16387">
                    <a:moveTo>
                      <a:pt x="4097" y="13656"/>
                    </a:moveTo>
                    <a:cubicBezTo>
                      <a:pt x="5462" y="10379"/>
                      <a:pt x="11744" y="7647"/>
                      <a:pt x="21030" y="6009"/>
                    </a:cubicBezTo>
                    <a:cubicBezTo>
                      <a:pt x="27312" y="4916"/>
                      <a:pt x="34686" y="4097"/>
                      <a:pt x="43153" y="4097"/>
                    </a:cubicBezTo>
                    <a:cubicBezTo>
                      <a:pt x="51074" y="4097"/>
                      <a:pt x="58175" y="4643"/>
                      <a:pt x="64183" y="5736"/>
                    </a:cubicBezTo>
                    <a:lnTo>
                      <a:pt x="64183" y="5736"/>
                    </a:lnTo>
                    <a:cubicBezTo>
                      <a:pt x="74835" y="7647"/>
                      <a:pt x="81663" y="10652"/>
                      <a:pt x="82482" y="14475"/>
                    </a:cubicBezTo>
                    <a:lnTo>
                      <a:pt x="82482" y="14475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6AF6EB71-D6C9-4D75-BAC1-6BCF989772C8}"/>
                  </a:ext>
                </a:extLst>
              </p:cNvPr>
              <p:cNvSpPr/>
              <p:nvPr/>
            </p:nvSpPr>
            <p:spPr>
              <a:xfrm>
                <a:off x="9410084" y="2017200"/>
                <a:ext cx="273135" cy="273135"/>
              </a:xfrm>
              <a:custGeom>
                <a:avLst/>
                <a:gdLst>
                  <a:gd name="connsiteX0" fmla="*/ 110614 w 114710"/>
                  <a:gd name="connsiteY0" fmla="*/ 57355 h 114710"/>
                  <a:gd name="connsiteX1" fmla="*/ 57355 w 114710"/>
                  <a:gd name="connsiteY1" fmla="*/ 110614 h 114710"/>
                  <a:gd name="connsiteX2" fmla="*/ 4097 w 114710"/>
                  <a:gd name="connsiteY2" fmla="*/ 57355 h 114710"/>
                  <a:gd name="connsiteX3" fmla="*/ 57355 w 114710"/>
                  <a:gd name="connsiteY3" fmla="*/ 4097 h 114710"/>
                  <a:gd name="connsiteX4" fmla="*/ 110614 w 114710"/>
                  <a:gd name="connsiteY4" fmla="*/ 57355 h 11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710" h="114710">
                    <a:moveTo>
                      <a:pt x="110614" y="57355"/>
                    </a:moveTo>
                    <a:cubicBezTo>
                      <a:pt x="110614" y="86769"/>
                      <a:pt x="86769" y="110614"/>
                      <a:pt x="57355" y="110614"/>
                    </a:cubicBezTo>
                    <a:cubicBezTo>
                      <a:pt x="27941" y="110614"/>
                      <a:pt x="4097" y="86769"/>
                      <a:pt x="4097" y="57355"/>
                    </a:cubicBezTo>
                    <a:cubicBezTo>
                      <a:pt x="4097" y="27941"/>
                      <a:pt x="27941" y="4097"/>
                      <a:pt x="57355" y="4097"/>
                    </a:cubicBezTo>
                    <a:cubicBezTo>
                      <a:pt x="86769" y="4097"/>
                      <a:pt x="110614" y="27941"/>
                      <a:pt x="110614" y="5735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C31BF6A9-03AE-420F-A5E5-18FB0F6E26C4}"/>
                </a:ext>
              </a:extLst>
            </p:cNvPr>
            <p:cNvGrpSpPr/>
            <p:nvPr/>
          </p:nvGrpSpPr>
          <p:grpSpPr>
            <a:xfrm>
              <a:off x="10711594" y="-878186"/>
              <a:ext cx="517650" cy="517650"/>
              <a:chOff x="11288008" y="-411768"/>
              <a:chExt cx="187847" cy="187847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1115C633-E495-43CA-98DA-BA41F95DC8A6}"/>
                  </a:ext>
                </a:extLst>
              </p:cNvPr>
              <p:cNvSpPr/>
              <p:nvPr/>
            </p:nvSpPr>
            <p:spPr>
              <a:xfrm>
                <a:off x="11288008" y="-411768"/>
                <a:ext cx="187847" cy="187847"/>
              </a:xfrm>
              <a:custGeom>
                <a:avLst/>
                <a:gdLst>
                  <a:gd name="connsiteX0" fmla="*/ 159620 w 161933"/>
                  <a:gd name="connsiteY0" fmla="*/ 82289 h 161933"/>
                  <a:gd name="connsiteX1" fmla="*/ 82289 w 161933"/>
                  <a:gd name="connsiteY1" fmla="*/ 159620 h 161933"/>
                  <a:gd name="connsiteX2" fmla="*/ 4957 w 161933"/>
                  <a:gd name="connsiteY2" fmla="*/ 82289 h 161933"/>
                  <a:gd name="connsiteX3" fmla="*/ 82289 w 161933"/>
                  <a:gd name="connsiteY3" fmla="*/ 4957 h 161933"/>
                  <a:gd name="connsiteX4" fmla="*/ 159620 w 161933"/>
                  <a:gd name="connsiteY4" fmla="*/ 82289 h 161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33" h="161933">
                    <a:moveTo>
                      <a:pt x="159620" y="82289"/>
                    </a:moveTo>
                    <a:cubicBezTo>
                      <a:pt x="159620" y="124997"/>
                      <a:pt x="124997" y="159620"/>
                      <a:pt x="82289" y="159620"/>
                    </a:cubicBezTo>
                    <a:cubicBezTo>
                      <a:pt x="39580" y="159620"/>
                      <a:pt x="4957" y="124997"/>
                      <a:pt x="4957" y="82289"/>
                    </a:cubicBezTo>
                    <a:cubicBezTo>
                      <a:pt x="4957" y="39580"/>
                      <a:pt x="39580" y="4957"/>
                      <a:pt x="82289" y="4957"/>
                    </a:cubicBezTo>
                    <a:cubicBezTo>
                      <a:pt x="124997" y="4957"/>
                      <a:pt x="159620" y="39580"/>
                      <a:pt x="159620" y="8228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7B6F85DA-7D84-4840-9673-81016DCEFF97}"/>
                  </a:ext>
                </a:extLst>
              </p:cNvPr>
              <p:cNvSpPr/>
              <p:nvPr/>
            </p:nvSpPr>
            <p:spPr>
              <a:xfrm>
                <a:off x="11331902" y="-364040"/>
                <a:ext cx="53671" cy="88172"/>
              </a:xfrm>
              <a:custGeom>
                <a:avLst/>
                <a:gdLst>
                  <a:gd name="connsiteX0" fmla="*/ 2479 w 46266"/>
                  <a:gd name="connsiteY0" fmla="*/ 73861 h 76009"/>
                  <a:gd name="connsiteX1" fmla="*/ 2479 w 46266"/>
                  <a:gd name="connsiteY1" fmla="*/ 2479 h 76009"/>
                  <a:gd name="connsiteX2" fmla="*/ 23629 w 46266"/>
                  <a:gd name="connsiteY2" fmla="*/ 2479 h 76009"/>
                  <a:gd name="connsiteX3" fmla="*/ 37509 w 46266"/>
                  <a:gd name="connsiteY3" fmla="*/ 8097 h 76009"/>
                  <a:gd name="connsiteX4" fmla="*/ 42797 w 46266"/>
                  <a:gd name="connsiteY4" fmla="*/ 23299 h 76009"/>
                  <a:gd name="connsiteX5" fmla="*/ 39492 w 46266"/>
                  <a:gd name="connsiteY5" fmla="*/ 35526 h 76009"/>
                  <a:gd name="connsiteX6" fmla="*/ 30569 w 46266"/>
                  <a:gd name="connsiteY6" fmla="*/ 43127 h 76009"/>
                  <a:gd name="connsiteX7" fmla="*/ 46432 w 46266"/>
                  <a:gd name="connsiteY7" fmla="*/ 73861 h 76009"/>
                  <a:gd name="connsiteX8" fmla="*/ 35857 w 46266"/>
                  <a:gd name="connsiteY8" fmla="*/ 73861 h 76009"/>
                  <a:gd name="connsiteX9" fmla="*/ 21646 w 46266"/>
                  <a:gd name="connsiteY9" fmla="*/ 45110 h 76009"/>
                  <a:gd name="connsiteX10" fmla="*/ 12393 w 46266"/>
                  <a:gd name="connsiteY10" fmla="*/ 45110 h 76009"/>
                  <a:gd name="connsiteX11" fmla="*/ 12393 w 46266"/>
                  <a:gd name="connsiteY11" fmla="*/ 73861 h 76009"/>
                  <a:gd name="connsiteX12" fmla="*/ 2479 w 46266"/>
                  <a:gd name="connsiteY12" fmla="*/ 73861 h 76009"/>
                  <a:gd name="connsiteX13" fmla="*/ 12062 w 46266"/>
                  <a:gd name="connsiteY13" fmla="*/ 37179 h 76009"/>
                  <a:gd name="connsiteX14" fmla="*/ 22307 w 46266"/>
                  <a:gd name="connsiteY14" fmla="*/ 37179 h 76009"/>
                  <a:gd name="connsiteX15" fmla="*/ 30239 w 46266"/>
                  <a:gd name="connsiteY15" fmla="*/ 33543 h 76009"/>
                  <a:gd name="connsiteX16" fmla="*/ 32882 w 46266"/>
                  <a:gd name="connsiteY16" fmla="*/ 23629 h 76009"/>
                  <a:gd name="connsiteX17" fmla="*/ 30239 w 46266"/>
                  <a:gd name="connsiteY17" fmla="*/ 13715 h 76009"/>
                  <a:gd name="connsiteX18" fmla="*/ 22638 w 46266"/>
                  <a:gd name="connsiteY18" fmla="*/ 10410 h 76009"/>
                  <a:gd name="connsiteX19" fmla="*/ 12062 w 46266"/>
                  <a:gd name="connsiteY19" fmla="*/ 10410 h 76009"/>
                  <a:gd name="connsiteX20" fmla="*/ 12062 w 46266"/>
                  <a:gd name="connsiteY20" fmla="*/ 37179 h 7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6266" h="76009">
                    <a:moveTo>
                      <a:pt x="2479" y="73861"/>
                    </a:moveTo>
                    <a:lnTo>
                      <a:pt x="2479" y="2479"/>
                    </a:lnTo>
                    <a:lnTo>
                      <a:pt x="23629" y="2479"/>
                    </a:lnTo>
                    <a:cubicBezTo>
                      <a:pt x="29247" y="2479"/>
                      <a:pt x="34204" y="4461"/>
                      <a:pt x="37509" y="8097"/>
                    </a:cubicBezTo>
                    <a:cubicBezTo>
                      <a:pt x="41144" y="11732"/>
                      <a:pt x="42797" y="17019"/>
                      <a:pt x="42797" y="23299"/>
                    </a:cubicBezTo>
                    <a:cubicBezTo>
                      <a:pt x="42797" y="27925"/>
                      <a:pt x="41805" y="31891"/>
                      <a:pt x="39492" y="35526"/>
                    </a:cubicBezTo>
                    <a:cubicBezTo>
                      <a:pt x="37509" y="38831"/>
                      <a:pt x="34204" y="41475"/>
                      <a:pt x="30569" y="43127"/>
                    </a:cubicBezTo>
                    <a:lnTo>
                      <a:pt x="46432" y="73861"/>
                    </a:lnTo>
                    <a:lnTo>
                      <a:pt x="35857" y="73861"/>
                    </a:lnTo>
                    <a:lnTo>
                      <a:pt x="21646" y="45110"/>
                    </a:lnTo>
                    <a:lnTo>
                      <a:pt x="12393" y="45110"/>
                    </a:lnTo>
                    <a:lnTo>
                      <a:pt x="12393" y="73861"/>
                    </a:lnTo>
                    <a:lnTo>
                      <a:pt x="2479" y="73861"/>
                    </a:lnTo>
                    <a:close/>
                    <a:moveTo>
                      <a:pt x="12062" y="37179"/>
                    </a:moveTo>
                    <a:lnTo>
                      <a:pt x="22307" y="37179"/>
                    </a:lnTo>
                    <a:cubicBezTo>
                      <a:pt x="25612" y="37179"/>
                      <a:pt x="28256" y="35857"/>
                      <a:pt x="30239" y="33543"/>
                    </a:cubicBezTo>
                    <a:cubicBezTo>
                      <a:pt x="32221" y="31230"/>
                      <a:pt x="32882" y="27925"/>
                      <a:pt x="32882" y="23629"/>
                    </a:cubicBezTo>
                    <a:cubicBezTo>
                      <a:pt x="32882" y="19333"/>
                      <a:pt x="31891" y="16028"/>
                      <a:pt x="30239" y="13715"/>
                    </a:cubicBezTo>
                    <a:cubicBezTo>
                      <a:pt x="28586" y="11401"/>
                      <a:pt x="25942" y="10410"/>
                      <a:pt x="22638" y="10410"/>
                    </a:cubicBezTo>
                    <a:lnTo>
                      <a:pt x="12062" y="10410"/>
                    </a:lnTo>
                    <a:lnTo>
                      <a:pt x="12062" y="37179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61BADB76-05A7-4A18-AFE6-47F94BB01439}"/>
                  </a:ext>
                </a:extLst>
              </p:cNvPr>
              <p:cNvSpPr/>
              <p:nvPr/>
            </p:nvSpPr>
            <p:spPr>
              <a:xfrm>
                <a:off x="11389023" y="-341804"/>
                <a:ext cx="49837" cy="65171"/>
              </a:xfrm>
              <a:custGeom>
                <a:avLst/>
                <a:gdLst>
                  <a:gd name="connsiteX0" fmla="*/ 32552 w 42961"/>
                  <a:gd name="connsiteY0" fmla="*/ 54694 h 56180"/>
                  <a:gd name="connsiteX1" fmla="*/ 22307 w 42961"/>
                  <a:gd name="connsiteY1" fmla="*/ 35196 h 56180"/>
                  <a:gd name="connsiteX2" fmla="*/ 12393 w 42961"/>
                  <a:gd name="connsiteY2" fmla="*/ 54694 h 56180"/>
                  <a:gd name="connsiteX3" fmla="*/ 2479 w 42961"/>
                  <a:gd name="connsiteY3" fmla="*/ 54694 h 56180"/>
                  <a:gd name="connsiteX4" fmla="*/ 17680 w 42961"/>
                  <a:gd name="connsiteY4" fmla="*/ 27925 h 56180"/>
                  <a:gd name="connsiteX5" fmla="*/ 3470 w 42961"/>
                  <a:gd name="connsiteY5" fmla="*/ 2479 h 56180"/>
                  <a:gd name="connsiteX6" fmla="*/ 14045 w 42961"/>
                  <a:gd name="connsiteY6" fmla="*/ 2479 h 56180"/>
                  <a:gd name="connsiteX7" fmla="*/ 22968 w 42961"/>
                  <a:gd name="connsiteY7" fmla="*/ 20324 h 56180"/>
                  <a:gd name="connsiteX8" fmla="*/ 31560 w 42961"/>
                  <a:gd name="connsiteY8" fmla="*/ 2479 h 56180"/>
                  <a:gd name="connsiteX9" fmla="*/ 41475 w 42961"/>
                  <a:gd name="connsiteY9" fmla="*/ 2479 h 56180"/>
                  <a:gd name="connsiteX10" fmla="*/ 27595 w 42961"/>
                  <a:gd name="connsiteY10" fmla="*/ 27264 h 56180"/>
                  <a:gd name="connsiteX11" fmla="*/ 42797 w 42961"/>
                  <a:gd name="connsiteY11" fmla="*/ 54694 h 56180"/>
                  <a:gd name="connsiteX12" fmla="*/ 32552 w 42961"/>
                  <a:gd name="connsiteY12" fmla="*/ 54694 h 56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961" h="56180">
                    <a:moveTo>
                      <a:pt x="32552" y="54694"/>
                    </a:moveTo>
                    <a:lnTo>
                      <a:pt x="22307" y="35196"/>
                    </a:lnTo>
                    <a:lnTo>
                      <a:pt x="12393" y="54694"/>
                    </a:lnTo>
                    <a:lnTo>
                      <a:pt x="2479" y="54694"/>
                    </a:lnTo>
                    <a:lnTo>
                      <a:pt x="17680" y="27925"/>
                    </a:lnTo>
                    <a:lnTo>
                      <a:pt x="3470" y="2479"/>
                    </a:lnTo>
                    <a:lnTo>
                      <a:pt x="14045" y="2479"/>
                    </a:lnTo>
                    <a:lnTo>
                      <a:pt x="22968" y="20324"/>
                    </a:lnTo>
                    <a:lnTo>
                      <a:pt x="31560" y="2479"/>
                    </a:lnTo>
                    <a:lnTo>
                      <a:pt x="41475" y="2479"/>
                    </a:lnTo>
                    <a:lnTo>
                      <a:pt x="27595" y="27264"/>
                    </a:lnTo>
                    <a:lnTo>
                      <a:pt x="42797" y="54694"/>
                    </a:lnTo>
                    <a:lnTo>
                      <a:pt x="32552" y="54694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  <p:grpSp>
          <p:nvGrpSpPr>
            <p:cNvPr id="68" name="Graphic 232">
              <a:extLst>
                <a:ext uri="{FF2B5EF4-FFF2-40B4-BE49-F238E27FC236}">
                  <a16:creationId xmlns:a16="http://schemas.microsoft.com/office/drawing/2014/main" id="{C4458E83-9768-4BAD-964F-EE0D19F3105D}"/>
                </a:ext>
              </a:extLst>
            </p:cNvPr>
            <p:cNvGrpSpPr/>
            <p:nvPr/>
          </p:nvGrpSpPr>
          <p:grpSpPr>
            <a:xfrm>
              <a:off x="10918488" y="80634"/>
              <a:ext cx="793383" cy="793383"/>
              <a:chOff x="8369244" y="4592514"/>
              <a:chExt cx="660952" cy="660952"/>
            </a:xfrm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15C9E5A-7962-41FD-AC89-E6B99368C5EA}"/>
                  </a:ext>
                </a:extLst>
              </p:cNvPr>
              <p:cNvSpPr/>
              <p:nvPr/>
            </p:nvSpPr>
            <p:spPr>
              <a:xfrm>
                <a:off x="8555963" y="4717103"/>
                <a:ext cx="284209" cy="406485"/>
              </a:xfrm>
              <a:custGeom>
                <a:avLst/>
                <a:gdLst>
                  <a:gd name="connsiteX0" fmla="*/ 4957 w 284209"/>
                  <a:gd name="connsiteY0" fmla="*/ 392275 h 406485"/>
                  <a:gd name="connsiteX1" fmla="*/ 4957 w 284209"/>
                  <a:gd name="connsiteY1" fmla="*/ 15863 h 406485"/>
                  <a:gd name="connsiteX2" fmla="*/ 15863 w 284209"/>
                  <a:gd name="connsiteY2" fmla="*/ 4957 h 406485"/>
                  <a:gd name="connsiteX3" fmla="*/ 189693 w 284209"/>
                  <a:gd name="connsiteY3" fmla="*/ 4957 h 406485"/>
                  <a:gd name="connsiteX4" fmla="*/ 282226 w 284209"/>
                  <a:gd name="connsiteY4" fmla="*/ 97490 h 406485"/>
                  <a:gd name="connsiteX5" fmla="*/ 282226 w 284209"/>
                  <a:gd name="connsiteY5" fmla="*/ 392275 h 406485"/>
                  <a:gd name="connsiteX6" fmla="*/ 271321 w 284209"/>
                  <a:gd name="connsiteY6" fmla="*/ 403181 h 406485"/>
                  <a:gd name="connsiteX7" fmla="*/ 15863 w 284209"/>
                  <a:gd name="connsiteY7" fmla="*/ 403181 h 406485"/>
                  <a:gd name="connsiteX8" fmla="*/ 4957 w 284209"/>
                  <a:gd name="connsiteY8" fmla="*/ 392275 h 406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209" h="406485">
                    <a:moveTo>
                      <a:pt x="4957" y="392275"/>
                    </a:moveTo>
                    <a:lnTo>
                      <a:pt x="4957" y="15863"/>
                    </a:lnTo>
                    <a:cubicBezTo>
                      <a:pt x="4957" y="9914"/>
                      <a:pt x="9914" y="4957"/>
                      <a:pt x="15863" y="4957"/>
                    </a:cubicBezTo>
                    <a:lnTo>
                      <a:pt x="189693" y="4957"/>
                    </a:lnTo>
                    <a:lnTo>
                      <a:pt x="282226" y="97490"/>
                    </a:lnTo>
                    <a:lnTo>
                      <a:pt x="282226" y="392275"/>
                    </a:lnTo>
                    <a:cubicBezTo>
                      <a:pt x="282226" y="398224"/>
                      <a:pt x="277269" y="403181"/>
                      <a:pt x="271321" y="403181"/>
                    </a:cubicBezTo>
                    <a:lnTo>
                      <a:pt x="15863" y="403181"/>
                    </a:lnTo>
                    <a:cubicBezTo>
                      <a:pt x="9914" y="403181"/>
                      <a:pt x="4957" y="398224"/>
                      <a:pt x="4957" y="39227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E270FB9-A12D-400D-A5D8-E1DEBD04785E}"/>
                  </a:ext>
                </a:extLst>
              </p:cNvPr>
              <p:cNvSpPr/>
              <p:nvPr/>
            </p:nvSpPr>
            <p:spPr>
              <a:xfrm>
                <a:off x="8740699" y="4717103"/>
                <a:ext cx="102448" cy="99143"/>
              </a:xfrm>
              <a:custGeom>
                <a:avLst/>
                <a:gdLst>
                  <a:gd name="connsiteX0" fmla="*/ 4957 w 102447"/>
                  <a:gd name="connsiteY0" fmla="*/ 97490 h 99142"/>
                  <a:gd name="connsiteX1" fmla="*/ 97821 w 102447"/>
                  <a:gd name="connsiteY1" fmla="*/ 97490 h 99142"/>
                  <a:gd name="connsiteX2" fmla="*/ 4957 w 102447"/>
                  <a:gd name="connsiteY2" fmla="*/ 4957 h 9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2447" h="99142">
                    <a:moveTo>
                      <a:pt x="4957" y="97490"/>
                    </a:moveTo>
                    <a:lnTo>
                      <a:pt x="97821" y="97490"/>
                    </a:lnTo>
                    <a:lnTo>
                      <a:pt x="4957" y="4957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C467F62-1ADA-4C73-A7A8-163100A62D8F}"/>
                  </a:ext>
                </a:extLst>
              </p:cNvPr>
              <p:cNvSpPr/>
              <p:nvPr/>
            </p:nvSpPr>
            <p:spPr>
              <a:xfrm>
                <a:off x="8596942" y="4884324"/>
                <a:ext cx="204895" cy="9914"/>
              </a:xfrm>
              <a:custGeom>
                <a:avLst/>
                <a:gdLst>
                  <a:gd name="connsiteX0" fmla="*/ 4957 w 204895"/>
                  <a:gd name="connsiteY0" fmla="*/ 4957 h 9914"/>
                  <a:gd name="connsiteX1" fmla="*/ 200929 w 204895"/>
                  <a:gd name="connsiteY1" fmla="*/ 4957 h 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895" h="9914">
                    <a:moveTo>
                      <a:pt x="4957" y="4957"/>
                    </a:moveTo>
                    <a:lnTo>
                      <a:pt x="200929" y="49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23D86B3-E52D-48E7-A023-385BD151533E}"/>
                  </a:ext>
                </a:extLst>
              </p:cNvPr>
              <p:cNvSpPr/>
              <p:nvPr/>
            </p:nvSpPr>
            <p:spPr>
              <a:xfrm>
                <a:off x="8596942" y="4938853"/>
                <a:ext cx="204895" cy="9914"/>
              </a:xfrm>
              <a:custGeom>
                <a:avLst/>
                <a:gdLst>
                  <a:gd name="connsiteX0" fmla="*/ 4957 w 204895"/>
                  <a:gd name="connsiteY0" fmla="*/ 4957 h 9914"/>
                  <a:gd name="connsiteX1" fmla="*/ 200929 w 204895"/>
                  <a:gd name="connsiteY1" fmla="*/ 4957 h 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4895" h="9914">
                    <a:moveTo>
                      <a:pt x="4957" y="4957"/>
                    </a:moveTo>
                    <a:lnTo>
                      <a:pt x="200929" y="49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CD2AF19-C1FE-4F0D-9A51-8298F884D108}"/>
                  </a:ext>
                </a:extLst>
              </p:cNvPr>
              <p:cNvSpPr/>
              <p:nvPr/>
            </p:nvSpPr>
            <p:spPr>
              <a:xfrm>
                <a:off x="8596942" y="4993051"/>
                <a:ext cx="198286" cy="9914"/>
              </a:xfrm>
              <a:custGeom>
                <a:avLst/>
                <a:gdLst>
                  <a:gd name="connsiteX0" fmla="*/ 4957 w 198285"/>
                  <a:gd name="connsiteY0" fmla="*/ 4957 h 9914"/>
                  <a:gd name="connsiteX1" fmla="*/ 195972 w 198285"/>
                  <a:gd name="connsiteY1" fmla="*/ 4957 h 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285" h="9914">
                    <a:moveTo>
                      <a:pt x="4957" y="4957"/>
                    </a:moveTo>
                    <a:lnTo>
                      <a:pt x="195972" y="49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1E70820-7B24-4E27-962E-97BB352165E7}"/>
                  </a:ext>
                </a:extLst>
              </p:cNvPr>
              <p:cNvSpPr/>
              <p:nvPr/>
            </p:nvSpPr>
            <p:spPr>
              <a:xfrm>
                <a:off x="8596942" y="5047249"/>
                <a:ext cx="76009" cy="9914"/>
              </a:xfrm>
              <a:custGeom>
                <a:avLst/>
                <a:gdLst>
                  <a:gd name="connsiteX0" fmla="*/ 4957 w 76009"/>
                  <a:gd name="connsiteY0" fmla="*/ 4957 h 9914"/>
                  <a:gd name="connsiteX1" fmla="*/ 72374 w 76009"/>
                  <a:gd name="connsiteY1" fmla="*/ 4957 h 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009" h="9914">
                    <a:moveTo>
                      <a:pt x="4957" y="4957"/>
                    </a:moveTo>
                    <a:lnTo>
                      <a:pt x="72374" y="49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A337735E-B3F7-4E62-A0DE-717BF9C8C91D}"/>
                  </a:ext>
                </a:extLst>
              </p:cNvPr>
              <p:cNvSpPr/>
              <p:nvPr/>
            </p:nvSpPr>
            <p:spPr>
              <a:xfrm>
                <a:off x="8596942" y="4830126"/>
                <a:ext cx="118971" cy="9914"/>
              </a:xfrm>
              <a:custGeom>
                <a:avLst/>
                <a:gdLst>
                  <a:gd name="connsiteX0" fmla="*/ 4957 w 118971"/>
                  <a:gd name="connsiteY0" fmla="*/ 4957 h 9914"/>
                  <a:gd name="connsiteX1" fmla="*/ 115667 w 118971"/>
                  <a:gd name="connsiteY1" fmla="*/ 4957 h 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8971" h="9914">
                    <a:moveTo>
                      <a:pt x="4957" y="4957"/>
                    </a:moveTo>
                    <a:lnTo>
                      <a:pt x="115667" y="4957"/>
                    </a:ln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21FDFE00-B908-46E3-9EFF-509EE000567D}"/>
                  </a:ext>
                </a:extLst>
              </p:cNvPr>
              <p:cNvSpPr/>
              <p:nvPr/>
            </p:nvSpPr>
            <p:spPr>
              <a:xfrm>
                <a:off x="8720870" y="5007261"/>
                <a:ext cx="122276" cy="118971"/>
              </a:xfrm>
              <a:custGeom>
                <a:avLst/>
                <a:gdLst>
                  <a:gd name="connsiteX0" fmla="*/ 117649 w 122276"/>
                  <a:gd name="connsiteY0" fmla="*/ 4957 h 118971"/>
                  <a:gd name="connsiteX1" fmla="*/ 4957 w 122276"/>
                  <a:gd name="connsiteY1" fmla="*/ 116988 h 118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276" h="118971">
                    <a:moveTo>
                      <a:pt x="117649" y="4957"/>
                    </a:moveTo>
                    <a:cubicBezTo>
                      <a:pt x="117649" y="4957"/>
                      <a:pt x="6610" y="114014"/>
                      <a:pt x="4957" y="116988"/>
                    </a:cubicBez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9C0A676-64E2-4265-A869-619D51545329}"/>
                  </a:ext>
                </a:extLst>
              </p:cNvPr>
              <p:cNvSpPr/>
              <p:nvPr/>
            </p:nvSpPr>
            <p:spPr>
              <a:xfrm>
                <a:off x="8556293" y="4718095"/>
                <a:ext cx="122276" cy="118971"/>
              </a:xfrm>
              <a:custGeom>
                <a:avLst/>
                <a:gdLst>
                  <a:gd name="connsiteX0" fmla="*/ 117649 w 122276"/>
                  <a:gd name="connsiteY0" fmla="*/ 4957 h 118971"/>
                  <a:gd name="connsiteX1" fmla="*/ 4957 w 122276"/>
                  <a:gd name="connsiteY1" fmla="*/ 116989 h 118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2276" h="118971">
                    <a:moveTo>
                      <a:pt x="117649" y="4957"/>
                    </a:moveTo>
                    <a:cubicBezTo>
                      <a:pt x="117649" y="4957"/>
                      <a:pt x="6610" y="114014"/>
                      <a:pt x="4957" y="116989"/>
                    </a:cubicBezTo>
                  </a:path>
                </a:pathLst>
              </a:custGeom>
              <a:noFill/>
              <a:ln w="12700" cap="flat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170432"/>
                <a:endParaRPr lang="en-US" sz="4608" dirty="0">
                  <a:latin typeface="Amazon Ember" panose="020B0603020204020204" pitchFamily="34" charset="0"/>
                  <a:ea typeface="Amazon Ember" panose="020B0603020204020204" pitchFamily="34" charset="0"/>
                  <a:cs typeface="Amazon Ember" panose="020B0603020204020204" pitchFamily="34" charset="0"/>
                </a:endParaRPr>
              </a:p>
            </p:txBody>
          </p:sp>
        </p:grpSp>
      </p:grpSp>
      <p:grpSp>
        <p:nvGrpSpPr>
          <p:cNvPr id="104" name="Graphic 3">
            <a:extLst>
              <a:ext uri="{FF2B5EF4-FFF2-40B4-BE49-F238E27FC236}">
                <a16:creationId xmlns:a16="http://schemas.microsoft.com/office/drawing/2014/main" id="{4BA2A4EA-EB10-4C09-88D9-BE96DF5C112A}"/>
              </a:ext>
            </a:extLst>
          </p:cNvPr>
          <p:cNvGrpSpPr/>
          <p:nvPr/>
        </p:nvGrpSpPr>
        <p:grpSpPr>
          <a:xfrm>
            <a:off x="632243" y="1138559"/>
            <a:ext cx="1063157" cy="1107281"/>
            <a:chOff x="5701950" y="3028950"/>
            <a:chExt cx="790575" cy="790575"/>
          </a:xfrm>
          <a:noFill/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5251B4EA-970B-4359-AAA9-094D8DC0D269}"/>
                </a:ext>
              </a:extLst>
            </p:cNvPr>
            <p:cNvSpPr/>
            <p:nvPr/>
          </p:nvSpPr>
          <p:spPr>
            <a:xfrm>
              <a:off x="5881878" y="3313557"/>
              <a:ext cx="295275" cy="323850"/>
            </a:xfrm>
            <a:custGeom>
              <a:avLst/>
              <a:gdLst>
                <a:gd name="connsiteX0" fmla="*/ 221075 w 295275"/>
                <a:gd name="connsiteY0" fmla="*/ 322231 h 323850"/>
                <a:gd name="connsiteX1" fmla="*/ 165830 w 295275"/>
                <a:gd name="connsiteY1" fmla="*/ 331660 h 323850"/>
                <a:gd name="connsiteX2" fmla="*/ 0 w 295275"/>
                <a:gd name="connsiteY2" fmla="*/ 165830 h 323850"/>
                <a:gd name="connsiteX3" fmla="*/ 165830 w 295275"/>
                <a:gd name="connsiteY3" fmla="*/ 0 h 323850"/>
                <a:gd name="connsiteX4" fmla="*/ 300323 w 295275"/>
                <a:gd name="connsiteY4" fmla="*/ 6877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275" h="323850">
                  <a:moveTo>
                    <a:pt x="221075" y="322231"/>
                  </a:moveTo>
                  <a:cubicBezTo>
                    <a:pt x="203835" y="328327"/>
                    <a:pt x="185166" y="331660"/>
                    <a:pt x="165830" y="331660"/>
                  </a:cubicBezTo>
                  <a:cubicBezTo>
                    <a:pt x="74200" y="331660"/>
                    <a:pt x="0" y="257366"/>
                    <a:pt x="0" y="165830"/>
                  </a:cubicBezTo>
                  <a:cubicBezTo>
                    <a:pt x="0" y="74295"/>
                    <a:pt x="74295" y="0"/>
                    <a:pt x="165830" y="0"/>
                  </a:cubicBezTo>
                  <a:cubicBezTo>
                    <a:pt x="221171" y="0"/>
                    <a:pt x="270129" y="27051"/>
                    <a:pt x="300323" y="68770"/>
                  </a:cubicBez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1AFCC38-3BB7-41EB-84CA-CF14FDF17200}"/>
                </a:ext>
              </a:extLst>
            </p:cNvPr>
            <p:cNvSpPr/>
            <p:nvPr/>
          </p:nvSpPr>
          <p:spPr>
            <a:xfrm>
              <a:off x="6188297" y="3179255"/>
              <a:ext cx="209550" cy="28575"/>
            </a:xfrm>
            <a:custGeom>
              <a:avLst/>
              <a:gdLst>
                <a:gd name="connsiteX0" fmla="*/ 0 w 209550"/>
                <a:gd name="connsiteY0" fmla="*/ 37338 h 28575"/>
                <a:gd name="connsiteX1" fmla="*/ 0 w 209550"/>
                <a:gd name="connsiteY1" fmla="*/ 0 h 28575"/>
                <a:gd name="connsiteX2" fmla="*/ 215932 w 209550"/>
                <a:gd name="connsiteY2" fmla="*/ 0 h 28575"/>
                <a:gd name="connsiteX3" fmla="*/ 215932 w 209550"/>
                <a:gd name="connsiteY3" fmla="*/ 37338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0" h="28575">
                  <a:moveTo>
                    <a:pt x="0" y="37338"/>
                  </a:moveTo>
                  <a:lnTo>
                    <a:pt x="0" y="0"/>
                  </a:lnTo>
                  <a:lnTo>
                    <a:pt x="215932" y="0"/>
                  </a:lnTo>
                  <a:lnTo>
                    <a:pt x="215932" y="37338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74F663E-B77C-4542-B4DE-0A787893339C}"/>
                </a:ext>
              </a:extLst>
            </p:cNvPr>
            <p:cNvSpPr/>
            <p:nvPr/>
          </p:nvSpPr>
          <p:spPr>
            <a:xfrm>
              <a:off x="6218015" y="3233357"/>
              <a:ext cx="152400" cy="9525"/>
            </a:xfrm>
            <a:custGeom>
              <a:avLst/>
              <a:gdLst>
                <a:gd name="connsiteX0" fmla="*/ 0 w 152400"/>
                <a:gd name="connsiteY0" fmla="*/ 0 h 0"/>
                <a:gd name="connsiteX1" fmla="*/ 156496 w 1524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>
                  <a:moveTo>
                    <a:pt x="0" y="0"/>
                  </a:moveTo>
                  <a:lnTo>
                    <a:pt x="156496" y="0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2FAD8B1F-C812-492C-B384-2B8613E47C83}"/>
                </a:ext>
              </a:extLst>
            </p:cNvPr>
            <p:cNvSpPr/>
            <p:nvPr/>
          </p:nvSpPr>
          <p:spPr>
            <a:xfrm>
              <a:off x="6098112" y="3275552"/>
              <a:ext cx="390525" cy="542925"/>
            </a:xfrm>
            <a:custGeom>
              <a:avLst/>
              <a:gdLst>
                <a:gd name="connsiteX0" fmla="*/ 110568 w 390525"/>
                <a:gd name="connsiteY0" fmla="*/ 0 h 542925"/>
                <a:gd name="connsiteX1" fmla="*/ 110568 w 390525"/>
                <a:gd name="connsiteY1" fmla="*/ 192596 h 542925"/>
                <a:gd name="connsiteX2" fmla="*/ 4174 w 390525"/>
                <a:gd name="connsiteY2" fmla="*/ 468630 h 542925"/>
                <a:gd name="connsiteX3" fmla="*/ 61419 w 390525"/>
                <a:gd name="connsiteY3" fmla="*/ 552069 h 542925"/>
                <a:gd name="connsiteX4" fmla="*/ 334882 w 390525"/>
                <a:gd name="connsiteY4" fmla="*/ 552069 h 542925"/>
                <a:gd name="connsiteX5" fmla="*/ 392032 w 390525"/>
                <a:gd name="connsiteY5" fmla="*/ 468249 h 542925"/>
                <a:gd name="connsiteX6" fmla="*/ 283828 w 390525"/>
                <a:gd name="connsiteY6" fmla="*/ 192596 h 542925"/>
                <a:gd name="connsiteX7" fmla="*/ 283828 w 390525"/>
                <a:gd name="connsiteY7" fmla="*/ 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5" h="542925">
                  <a:moveTo>
                    <a:pt x="110568" y="0"/>
                  </a:moveTo>
                  <a:lnTo>
                    <a:pt x="110568" y="192596"/>
                  </a:lnTo>
                  <a:lnTo>
                    <a:pt x="4174" y="468630"/>
                  </a:lnTo>
                  <a:cubicBezTo>
                    <a:pt x="-11352" y="508825"/>
                    <a:pt x="18366" y="552069"/>
                    <a:pt x="61419" y="552069"/>
                  </a:cubicBezTo>
                  <a:lnTo>
                    <a:pt x="334882" y="552069"/>
                  </a:lnTo>
                  <a:cubicBezTo>
                    <a:pt x="378125" y="552069"/>
                    <a:pt x="407843" y="508540"/>
                    <a:pt x="392032" y="468249"/>
                  </a:cubicBezTo>
                  <a:lnTo>
                    <a:pt x="283828" y="192596"/>
                  </a:lnTo>
                  <a:lnTo>
                    <a:pt x="283828" y="0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2E03FD8-2689-435C-A59F-5CACA89D6E70}"/>
                </a:ext>
              </a:extLst>
            </p:cNvPr>
            <p:cNvSpPr/>
            <p:nvPr/>
          </p:nvSpPr>
          <p:spPr>
            <a:xfrm>
              <a:off x="6296215" y="3233357"/>
              <a:ext cx="9525" cy="228600"/>
            </a:xfrm>
            <a:custGeom>
              <a:avLst/>
              <a:gdLst>
                <a:gd name="connsiteX0" fmla="*/ 0 w 0"/>
                <a:gd name="connsiteY0" fmla="*/ 0 h 228600"/>
                <a:gd name="connsiteX1" fmla="*/ 0 w 0"/>
                <a:gd name="connsiteY1" fmla="*/ 23355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8600">
                  <a:moveTo>
                    <a:pt x="0" y="0"/>
                  </a:moveTo>
                  <a:lnTo>
                    <a:pt x="0" y="233553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C8C4295C-B8D7-4186-A0F4-BEF79A8CB0EE}"/>
                </a:ext>
              </a:extLst>
            </p:cNvPr>
            <p:cNvSpPr/>
            <p:nvPr/>
          </p:nvSpPr>
          <p:spPr>
            <a:xfrm>
              <a:off x="6257067" y="3466910"/>
              <a:ext cx="76200" cy="9525"/>
            </a:xfrm>
            <a:custGeom>
              <a:avLst/>
              <a:gdLst>
                <a:gd name="connsiteX0" fmla="*/ 0 w 76200"/>
                <a:gd name="connsiteY0" fmla="*/ 0 h 0"/>
                <a:gd name="connsiteX1" fmla="*/ 78295 w 762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>
                  <a:moveTo>
                    <a:pt x="0" y="0"/>
                  </a:moveTo>
                  <a:lnTo>
                    <a:pt x="78295" y="0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1ABDD1DC-DD66-4536-80CB-933264D1FCFE}"/>
                </a:ext>
              </a:extLst>
            </p:cNvPr>
            <p:cNvSpPr/>
            <p:nvPr/>
          </p:nvSpPr>
          <p:spPr>
            <a:xfrm>
              <a:off x="6266497" y="3530251"/>
              <a:ext cx="76200" cy="76200"/>
            </a:xfrm>
            <a:custGeom>
              <a:avLst/>
              <a:gdLst>
                <a:gd name="connsiteX0" fmla="*/ 80772 w 76200"/>
                <a:gd name="connsiteY0" fmla="*/ 40386 h 76200"/>
                <a:gd name="connsiteX1" fmla="*/ 40386 w 76200"/>
                <a:gd name="connsiteY1" fmla="*/ 80772 h 76200"/>
                <a:gd name="connsiteX2" fmla="*/ 0 w 76200"/>
                <a:gd name="connsiteY2" fmla="*/ 40386 h 76200"/>
                <a:gd name="connsiteX3" fmla="*/ 40386 w 76200"/>
                <a:gd name="connsiteY3" fmla="*/ 0 h 76200"/>
                <a:gd name="connsiteX4" fmla="*/ 80772 w 76200"/>
                <a:gd name="connsiteY4" fmla="*/ 40386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80772" y="40386"/>
                  </a:moveTo>
                  <a:cubicBezTo>
                    <a:pt x="80772" y="62691"/>
                    <a:pt x="62691" y="80772"/>
                    <a:pt x="40386" y="80772"/>
                  </a:cubicBezTo>
                  <a:cubicBezTo>
                    <a:pt x="18081" y="80772"/>
                    <a:pt x="0" y="62691"/>
                    <a:pt x="0" y="40386"/>
                  </a:cubicBezTo>
                  <a:cubicBezTo>
                    <a:pt x="0" y="18081"/>
                    <a:pt x="18081" y="0"/>
                    <a:pt x="40386" y="0"/>
                  </a:cubicBezTo>
                  <a:cubicBezTo>
                    <a:pt x="62691" y="0"/>
                    <a:pt x="80772" y="18081"/>
                    <a:pt x="80772" y="40386"/>
                  </a:cubicBezTo>
                  <a:close/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49F06D1-EAF0-496C-B49A-94ADCD6E8625}"/>
                </a:ext>
              </a:extLst>
            </p:cNvPr>
            <p:cNvSpPr/>
            <p:nvPr/>
          </p:nvSpPr>
          <p:spPr>
            <a:xfrm>
              <a:off x="6325362" y="3657600"/>
              <a:ext cx="57150" cy="57150"/>
            </a:xfrm>
            <a:custGeom>
              <a:avLst/>
              <a:gdLst>
                <a:gd name="connsiteX0" fmla="*/ 60960 w 57150"/>
                <a:gd name="connsiteY0" fmla="*/ 30480 h 57150"/>
                <a:gd name="connsiteX1" fmla="*/ 30480 w 57150"/>
                <a:gd name="connsiteY1" fmla="*/ 60960 h 57150"/>
                <a:gd name="connsiteX2" fmla="*/ 0 w 57150"/>
                <a:gd name="connsiteY2" fmla="*/ 30480 h 57150"/>
                <a:gd name="connsiteX3" fmla="*/ 30480 w 57150"/>
                <a:gd name="connsiteY3" fmla="*/ 0 h 57150"/>
                <a:gd name="connsiteX4" fmla="*/ 60960 w 57150"/>
                <a:gd name="connsiteY4" fmla="*/ 304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60960" y="30480"/>
                  </a:moveTo>
                  <a:cubicBezTo>
                    <a:pt x="60960" y="47314"/>
                    <a:pt x="47314" y="60960"/>
                    <a:pt x="30480" y="60960"/>
                  </a:cubicBezTo>
                  <a:cubicBezTo>
                    <a:pt x="13646" y="60960"/>
                    <a:pt x="0" y="47314"/>
                    <a:pt x="0" y="30480"/>
                  </a:cubicBezTo>
                  <a:cubicBezTo>
                    <a:pt x="0" y="13646"/>
                    <a:pt x="13646" y="0"/>
                    <a:pt x="30480" y="0"/>
                  </a:cubicBezTo>
                  <a:cubicBezTo>
                    <a:pt x="47314" y="0"/>
                    <a:pt x="60960" y="13646"/>
                    <a:pt x="60960" y="30480"/>
                  </a:cubicBezTo>
                  <a:close/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3D12F52-BA7C-44E9-ADF6-7EE5FAD2E4C7}"/>
                </a:ext>
              </a:extLst>
            </p:cNvPr>
            <p:cNvSpPr/>
            <p:nvPr/>
          </p:nvSpPr>
          <p:spPr>
            <a:xfrm>
              <a:off x="6234969" y="3629311"/>
              <a:ext cx="38100" cy="38100"/>
            </a:xfrm>
            <a:custGeom>
              <a:avLst/>
              <a:gdLst>
                <a:gd name="connsiteX0" fmla="*/ 41720 w 38100"/>
                <a:gd name="connsiteY0" fmla="*/ 20860 h 38100"/>
                <a:gd name="connsiteX1" fmla="*/ 20860 w 38100"/>
                <a:gd name="connsiteY1" fmla="*/ 41720 h 38100"/>
                <a:gd name="connsiteX2" fmla="*/ 0 w 38100"/>
                <a:gd name="connsiteY2" fmla="*/ 20860 h 38100"/>
                <a:gd name="connsiteX3" fmla="*/ 20860 w 38100"/>
                <a:gd name="connsiteY3" fmla="*/ 0 h 38100"/>
                <a:gd name="connsiteX4" fmla="*/ 41720 w 38100"/>
                <a:gd name="connsiteY4" fmla="*/ 2086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41720" y="20860"/>
                  </a:moveTo>
                  <a:cubicBezTo>
                    <a:pt x="41720" y="32380"/>
                    <a:pt x="32380" y="41720"/>
                    <a:pt x="20860" y="41720"/>
                  </a:cubicBezTo>
                  <a:cubicBezTo>
                    <a:pt x="9339" y="41720"/>
                    <a:pt x="0" y="32380"/>
                    <a:pt x="0" y="20860"/>
                  </a:cubicBezTo>
                  <a:cubicBezTo>
                    <a:pt x="0" y="9339"/>
                    <a:pt x="9339" y="0"/>
                    <a:pt x="20860" y="0"/>
                  </a:cubicBezTo>
                  <a:cubicBezTo>
                    <a:pt x="32380" y="0"/>
                    <a:pt x="41720" y="9339"/>
                    <a:pt x="41720" y="20860"/>
                  </a:cubicBezTo>
                  <a:close/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6A3A721-7EC5-449E-ACE0-2BAF300AAE66}"/>
                </a:ext>
              </a:extLst>
            </p:cNvPr>
            <p:cNvSpPr/>
            <p:nvPr/>
          </p:nvSpPr>
          <p:spPr>
            <a:xfrm>
              <a:off x="5701950" y="3129534"/>
              <a:ext cx="447675" cy="685800"/>
            </a:xfrm>
            <a:custGeom>
              <a:avLst/>
              <a:gdLst>
                <a:gd name="connsiteX0" fmla="*/ 451485 w 447675"/>
                <a:gd name="connsiteY0" fmla="*/ 98108 h 685800"/>
                <a:gd name="connsiteX1" fmla="*/ 451485 w 447675"/>
                <a:gd name="connsiteY1" fmla="*/ 15621 h 685800"/>
                <a:gd name="connsiteX2" fmla="*/ 380238 w 447675"/>
                <a:gd name="connsiteY2" fmla="*/ 0 h 685800"/>
                <a:gd name="connsiteX3" fmla="*/ 347186 w 447675"/>
                <a:gd name="connsiteY3" fmla="*/ 72199 h 685800"/>
                <a:gd name="connsiteX4" fmla="*/ 308896 w 447675"/>
                <a:gd name="connsiteY4" fmla="*/ 74867 h 685800"/>
                <a:gd name="connsiteX5" fmla="*/ 308896 w 447675"/>
                <a:gd name="connsiteY5" fmla="*/ 74867 h 685800"/>
                <a:gd name="connsiteX6" fmla="*/ 267367 w 447675"/>
                <a:gd name="connsiteY6" fmla="*/ 6572 h 685800"/>
                <a:gd name="connsiteX7" fmla="*/ 198311 w 447675"/>
                <a:gd name="connsiteY7" fmla="*/ 30194 h 685800"/>
                <a:gd name="connsiteX8" fmla="*/ 207359 w 447675"/>
                <a:gd name="connsiteY8" fmla="*/ 110014 h 685800"/>
                <a:gd name="connsiteX9" fmla="*/ 177260 w 447675"/>
                <a:gd name="connsiteY9" fmla="*/ 130397 h 685800"/>
                <a:gd name="connsiteX10" fmla="*/ 111538 w 447675"/>
                <a:gd name="connsiteY10" fmla="*/ 91535 h 685800"/>
                <a:gd name="connsiteX11" fmla="*/ 61722 w 447675"/>
                <a:gd name="connsiteY11" fmla="*/ 144875 h 685800"/>
                <a:gd name="connsiteX12" fmla="*/ 106966 w 447675"/>
                <a:gd name="connsiteY12" fmla="*/ 210693 h 685800"/>
                <a:gd name="connsiteX13" fmla="*/ 91821 w 447675"/>
                <a:gd name="connsiteY13" fmla="*/ 240792 h 685800"/>
                <a:gd name="connsiteX14" fmla="*/ 91821 w 447675"/>
                <a:gd name="connsiteY14" fmla="*/ 240792 h 685800"/>
                <a:gd name="connsiteX15" fmla="*/ 11906 w 447675"/>
                <a:gd name="connsiteY15" fmla="*/ 244983 h 685800"/>
                <a:gd name="connsiteX16" fmla="*/ 0 w 447675"/>
                <a:gd name="connsiteY16" fmla="*/ 316992 h 685800"/>
                <a:gd name="connsiteX17" fmla="*/ 69628 w 447675"/>
                <a:gd name="connsiteY17" fmla="*/ 344900 h 685800"/>
                <a:gd name="connsiteX18" fmla="*/ 69628 w 447675"/>
                <a:gd name="connsiteY18" fmla="*/ 350044 h 685800"/>
                <a:gd name="connsiteX19" fmla="*/ 71533 w 447675"/>
                <a:gd name="connsiteY19" fmla="*/ 383096 h 685800"/>
                <a:gd name="connsiteX20" fmla="*/ 71533 w 447675"/>
                <a:gd name="connsiteY20" fmla="*/ 383096 h 685800"/>
                <a:gd name="connsiteX21" fmla="*/ 3429 w 447675"/>
                <a:gd name="connsiteY21" fmla="*/ 431864 h 685800"/>
                <a:gd name="connsiteX22" fmla="*/ 32099 w 447675"/>
                <a:gd name="connsiteY22" fmla="*/ 498919 h 685800"/>
                <a:gd name="connsiteX23" fmla="*/ 104585 w 447675"/>
                <a:gd name="connsiteY23" fmla="*/ 485204 h 685800"/>
                <a:gd name="connsiteX24" fmla="*/ 127445 w 447675"/>
                <a:gd name="connsiteY24" fmla="*/ 519779 h 685800"/>
                <a:gd name="connsiteX25" fmla="*/ 91535 w 447675"/>
                <a:gd name="connsiteY25" fmla="*/ 587978 h 685800"/>
                <a:gd name="connsiteX26" fmla="*/ 147257 w 447675"/>
                <a:gd name="connsiteY26" fmla="*/ 635032 h 685800"/>
                <a:gd name="connsiteX27" fmla="*/ 206788 w 447675"/>
                <a:gd name="connsiteY27" fmla="*/ 589598 h 685800"/>
                <a:gd name="connsiteX28" fmla="*/ 238887 w 447675"/>
                <a:gd name="connsiteY28" fmla="*/ 605790 h 685800"/>
                <a:gd name="connsiteX29" fmla="*/ 239459 w 447675"/>
                <a:gd name="connsiteY29" fmla="*/ 606076 h 685800"/>
                <a:gd name="connsiteX30" fmla="*/ 247745 w 447675"/>
                <a:gd name="connsiteY30" fmla="*/ 684562 h 685800"/>
                <a:gd name="connsiteX31" fmla="*/ 320231 w 447675"/>
                <a:gd name="connsiteY31" fmla="*/ 692753 h 685800"/>
                <a:gd name="connsiteX32" fmla="*/ 342424 w 447675"/>
                <a:gd name="connsiteY32" fmla="*/ 627698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47675" h="685800">
                  <a:moveTo>
                    <a:pt x="451485" y="98108"/>
                  </a:moveTo>
                  <a:lnTo>
                    <a:pt x="451485" y="15621"/>
                  </a:lnTo>
                  <a:lnTo>
                    <a:pt x="380238" y="0"/>
                  </a:lnTo>
                  <a:lnTo>
                    <a:pt x="347186" y="72199"/>
                  </a:lnTo>
                  <a:cubicBezTo>
                    <a:pt x="334232" y="72199"/>
                    <a:pt x="321374" y="73057"/>
                    <a:pt x="308896" y="74867"/>
                  </a:cubicBezTo>
                  <a:lnTo>
                    <a:pt x="308896" y="74867"/>
                  </a:lnTo>
                  <a:lnTo>
                    <a:pt x="267367" y="6572"/>
                  </a:lnTo>
                  <a:lnTo>
                    <a:pt x="198311" y="30194"/>
                  </a:lnTo>
                  <a:lnTo>
                    <a:pt x="207359" y="110014"/>
                  </a:lnTo>
                  <a:cubicBezTo>
                    <a:pt x="196882" y="116110"/>
                    <a:pt x="186785" y="122968"/>
                    <a:pt x="177260" y="130397"/>
                  </a:cubicBezTo>
                  <a:lnTo>
                    <a:pt x="111538" y="91535"/>
                  </a:lnTo>
                  <a:lnTo>
                    <a:pt x="61722" y="144875"/>
                  </a:lnTo>
                  <a:lnTo>
                    <a:pt x="106966" y="210693"/>
                  </a:lnTo>
                  <a:cubicBezTo>
                    <a:pt x="101346" y="220409"/>
                    <a:pt x="96298" y="230410"/>
                    <a:pt x="91821" y="240792"/>
                  </a:cubicBezTo>
                  <a:lnTo>
                    <a:pt x="91821" y="240792"/>
                  </a:lnTo>
                  <a:lnTo>
                    <a:pt x="11906" y="244983"/>
                  </a:lnTo>
                  <a:lnTo>
                    <a:pt x="0" y="316992"/>
                  </a:lnTo>
                  <a:lnTo>
                    <a:pt x="69628" y="344900"/>
                  </a:lnTo>
                  <a:cubicBezTo>
                    <a:pt x="69628" y="346615"/>
                    <a:pt x="69628" y="348329"/>
                    <a:pt x="69628" y="350044"/>
                  </a:cubicBezTo>
                  <a:cubicBezTo>
                    <a:pt x="69628" y="361188"/>
                    <a:pt x="70295" y="372237"/>
                    <a:pt x="71533" y="383096"/>
                  </a:cubicBezTo>
                  <a:lnTo>
                    <a:pt x="71533" y="383096"/>
                  </a:lnTo>
                  <a:lnTo>
                    <a:pt x="3429" y="431864"/>
                  </a:lnTo>
                  <a:lnTo>
                    <a:pt x="32099" y="498919"/>
                  </a:lnTo>
                  <a:lnTo>
                    <a:pt x="104585" y="485204"/>
                  </a:lnTo>
                  <a:cubicBezTo>
                    <a:pt x="111347" y="497300"/>
                    <a:pt x="118967" y="508921"/>
                    <a:pt x="127445" y="519779"/>
                  </a:cubicBezTo>
                  <a:lnTo>
                    <a:pt x="91535" y="587978"/>
                  </a:lnTo>
                  <a:lnTo>
                    <a:pt x="147257" y="635032"/>
                  </a:lnTo>
                  <a:lnTo>
                    <a:pt x="206788" y="589598"/>
                  </a:lnTo>
                  <a:cubicBezTo>
                    <a:pt x="217075" y="595598"/>
                    <a:pt x="227838" y="601028"/>
                    <a:pt x="238887" y="605790"/>
                  </a:cubicBezTo>
                  <a:lnTo>
                    <a:pt x="239459" y="606076"/>
                  </a:lnTo>
                  <a:lnTo>
                    <a:pt x="247745" y="684562"/>
                  </a:lnTo>
                  <a:lnTo>
                    <a:pt x="320231" y="692753"/>
                  </a:lnTo>
                  <a:lnTo>
                    <a:pt x="342424" y="627698"/>
                  </a:lnTo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170432">
                <a:defRPr/>
              </a:pPr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D7D2669-0D4C-4644-896B-FE6ADB1E6BA0}"/>
                </a:ext>
              </a:extLst>
            </p:cNvPr>
            <p:cNvSpPr/>
            <p:nvPr/>
          </p:nvSpPr>
          <p:spPr>
            <a:xfrm>
              <a:off x="6312979" y="3028950"/>
              <a:ext cx="66675" cy="66675"/>
            </a:xfrm>
            <a:custGeom>
              <a:avLst/>
              <a:gdLst>
                <a:gd name="connsiteX0" fmla="*/ 67056 w 66675"/>
                <a:gd name="connsiteY0" fmla="*/ 33528 h 66675"/>
                <a:gd name="connsiteX1" fmla="*/ 33528 w 66675"/>
                <a:gd name="connsiteY1" fmla="*/ 67056 h 66675"/>
                <a:gd name="connsiteX2" fmla="*/ 0 w 66675"/>
                <a:gd name="connsiteY2" fmla="*/ 33528 h 66675"/>
                <a:gd name="connsiteX3" fmla="*/ 33528 w 66675"/>
                <a:gd name="connsiteY3" fmla="*/ 0 h 66675"/>
                <a:gd name="connsiteX4" fmla="*/ 67056 w 66675"/>
                <a:gd name="connsiteY4" fmla="*/ 33528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66675">
                  <a:moveTo>
                    <a:pt x="67056" y="33528"/>
                  </a:moveTo>
                  <a:cubicBezTo>
                    <a:pt x="67056" y="52045"/>
                    <a:pt x="52045" y="67056"/>
                    <a:pt x="33528" y="67056"/>
                  </a:cubicBezTo>
                  <a:cubicBezTo>
                    <a:pt x="15011" y="67056"/>
                    <a:pt x="0" y="52045"/>
                    <a:pt x="0" y="33528"/>
                  </a:cubicBezTo>
                  <a:cubicBezTo>
                    <a:pt x="0" y="15011"/>
                    <a:pt x="15011" y="0"/>
                    <a:pt x="33528" y="0"/>
                  </a:cubicBezTo>
                  <a:cubicBezTo>
                    <a:pt x="52045" y="0"/>
                    <a:pt x="67056" y="15011"/>
                    <a:pt x="67056" y="33528"/>
                  </a:cubicBezTo>
                  <a:close/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DDAE2EF-CC7C-4FE4-A368-6A42421111B4}"/>
                </a:ext>
              </a:extLst>
            </p:cNvPr>
            <p:cNvSpPr/>
            <p:nvPr/>
          </p:nvSpPr>
          <p:spPr>
            <a:xfrm>
              <a:off x="6214872" y="3102293"/>
              <a:ext cx="38100" cy="38100"/>
            </a:xfrm>
            <a:custGeom>
              <a:avLst/>
              <a:gdLst>
                <a:gd name="connsiteX0" fmla="*/ 41529 w 38100"/>
                <a:gd name="connsiteY0" fmla="*/ 20765 h 38100"/>
                <a:gd name="connsiteX1" fmla="*/ 20764 w 38100"/>
                <a:gd name="connsiteY1" fmla="*/ 41529 h 38100"/>
                <a:gd name="connsiteX2" fmla="*/ 0 w 38100"/>
                <a:gd name="connsiteY2" fmla="*/ 20765 h 38100"/>
                <a:gd name="connsiteX3" fmla="*/ 20764 w 38100"/>
                <a:gd name="connsiteY3" fmla="*/ 0 h 38100"/>
                <a:gd name="connsiteX4" fmla="*/ 41529 w 38100"/>
                <a:gd name="connsiteY4" fmla="*/ 2076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41529" y="20765"/>
                  </a:moveTo>
                  <a:cubicBezTo>
                    <a:pt x="41529" y="32232"/>
                    <a:pt x="32232" y="41529"/>
                    <a:pt x="20764" y="41529"/>
                  </a:cubicBezTo>
                  <a:cubicBezTo>
                    <a:pt x="9297" y="41529"/>
                    <a:pt x="0" y="32232"/>
                    <a:pt x="0" y="20765"/>
                  </a:cubicBezTo>
                  <a:cubicBezTo>
                    <a:pt x="0" y="9297"/>
                    <a:pt x="9297" y="0"/>
                    <a:pt x="20764" y="0"/>
                  </a:cubicBezTo>
                  <a:cubicBezTo>
                    <a:pt x="32232" y="0"/>
                    <a:pt x="41529" y="9297"/>
                    <a:pt x="41529" y="20765"/>
                  </a:cubicBezTo>
                  <a:close/>
                </a:path>
              </a:pathLst>
            </a:custGeom>
            <a:noFill/>
            <a:ln w="12700" cap="flat">
              <a:solidFill>
                <a:srgbClr val="0070C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234086" tIns="117043" rIns="234086" bIns="11704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170432"/>
              <a:endParaRPr lang="en-US" sz="4608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endParaRPr>
            </a:p>
          </p:txBody>
        </p: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id="{CFF2CF12-55A4-4710-A768-C12F0AE88A74}"/>
              </a:ext>
            </a:extLst>
          </p:cNvPr>
          <p:cNvSpPr txBox="1"/>
          <p:nvPr/>
        </p:nvSpPr>
        <p:spPr>
          <a:xfrm>
            <a:off x="20234" y="2667490"/>
            <a:ext cx="2329684" cy="378565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DISCOVERY AND DEVELOPMENT</a:t>
            </a:r>
          </a:p>
          <a:p>
            <a:pPr marR="0" lvl="0" algn="ctr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dentify target molecules 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Generate and </a:t>
            </a: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enumerate structure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Optimize target sequence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Filter by attribute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Target identification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Target validation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Lead optimization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568E699-1F38-40FF-9F21-D7504608F4E8}"/>
              </a:ext>
            </a:extLst>
          </p:cNvPr>
          <p:cNvSpPr txBox="1"/>
          <p:nvPr/>
        </p:nvSpPr>
        <p:spPr>
          <a:xfrm>
            <a:off x="2392141" y="2683900"/>
            <a:ext cx="2313609" cy="36009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   CLINICAL AND PRECLINIC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ower the clinical development process from designing effective trials using analytics and ML capabilities, to accelerating the regulatory submission process. </a:t>
            </a: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Optimize resource allocation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tient recruitment</a:t>
            </a: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egulatory document management</a:t>
            </a: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Human-in-the-loop document generation based on MLR guidelines</a:t>
            </a: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2784EA8-FAA4-4B78-A5A5-7431CF0BD9EB}"/>
              </a:ext>
            </a:extLst>
          </p:cNvPr>
          <p:cNvSpPr txBox="1"/>
          <p:nvPr/>
        </p:nvSpPr>
        <p:spPr>
          <a:xfrm>
            <a:off x="4754580" y="2667490"/>
            <a:ext cx="2449166" cy="36009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SUPPLY CHAIN AND MF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Invoice and ticket generation and ticket resolution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Risk identification and mitigation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roactive maintenance order creation and communication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Summarization and quality scoring of RFI/RFP response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nalysis and summarization of sustainability target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BD5FD5A-9180-4C13-8EB4-1C6900DEB13C}"/>
              </a:ext>
            </a:extLst>
          </p:cNvPr>
          <p:cNvSpPr txBox="1"/>
          <p:nvPr/>
        </p:nvSpPr>
        <p:spPr>
          <a:xfrm>
            <a:off x="7245212" y="2669038"/>
            <a:ext cx="2449166" cy="36009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OMMERCI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atient support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ro-active support to de-risk</a:t>
            </a: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non-adherence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Marketing recommendations 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Generate and optimize ad content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Medical Affairs literature analysi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Segment and analyze HCP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redict individualized patient outcome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Sales: More efficient follow-up with HCP and Patients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ccelerate real-world evidence collection and management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200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ersonalized content for patients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4AD84D5B-5D45-4C20-80D0-1E186E510771}"/>
              </a:ext>
            </a:extLst>
          </p:cNvPr>
          <p:cNvSpPr txBox="1"/>
          <p:nvPr/>
        </p:nvSpPr>
        <p:spPr>
          <a:xfrm>
            <a:off x="9810502" y="2671587"/>
            <a:ext cx="2367250" cy="34163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R="0" lvl="0" algn="ctr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 MONITORING</a:t>
            </a: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dverse event intake form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dverse event monitoring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Translation of adverse event report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dverse event case narratives</a:t>
            </a:r>
          </a:p>
          <a:p>
            <a:pPr marL="285750" marR="0" lvl="0" indent="-2857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Pharmaco-vigilance and periodic safety report generation</a:t>
            </a: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R="0" lvl="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171450" marR="0" lvl="0" indent="-171450" defTabSz="904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3C63C736-8B96-4DCD-B16D-E1C508F1E3B5}"/>
              </a:ext>
            </a:extLst>
          </p:cNvPr>
          <p:cNvCxnSpPr>
            <a:cxnSpLocks/>
          </p:cNvCxnSpPr>
          <p:nvPr/>
        </p:nvCxnSpPr>
        <p:spPr>
          <a:xfrm>
            <a:off x="2345380" y="2774191"/>
            <a:ext cx="0" cy="3487494"/>
          </a:xfrm>
          <a:prstGeom prst="line">
            <a:avLst/>
          </a:prstGeom>
          <a:ln w="57150" cap="rnd">
            <a:solidFill>
              <a:schemeClr val="tx1"/>
            </a:solidFill>
            <a:prstDash val="dash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65E31F40-C56C-40E8-890F-1671C4FDFEF1}"/>
              </a:ext>
            </a:extLst>
          </p:cNvPr>
          <p:cNvCxnSpPr>
            <a:cxnSpLocks/>
          </p:cNvCxnSpPr>
          <p:nvPr/>
        </p:nvCxnSpPr>
        <p:spPr>
          <a:xfrm>
            <a:off x="4706500" y="2774191"/>
            <a:ext cx="48080" cy="3365352"/>
          </a:xfrm>
          <a:prstGeom prst="line">
            <a:avLst/>
          </a:prstGeom>
          <a:ln w="57150" cap="rnd">
            <a:solidFill>
              <a:schemeClr val="tx1"/>
            </a:solidFill>
            <a:prstDash val="dash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69627E1-779B-44C0-8854-4A946EC04513}"/>
              </a:ext>
            </a:extLst>
          </p:cNvPr>
          <p:cNvCxnSpPr>
            <a:cxnSpLocks/>
          </p:cNvCxnSpPr>
          <p:nvPr/>
        </p:nvCxnSpPr>
        <p:spPr>
          <a:xfrm>
            <a:off x="7144779" y="2774191"/>
            <a:ext cx="0" cy="3234723"/>
          </a:xfrm>
          <a:prstGeom prst="line">
            <a:avLst/>
          </a:prstGeom>
          <a:ln w="57150" cap="rnd">
            <a:solidFill>
              <a:schemeClr val="tx1"/>
            </a:solidFill>
            <a:prstDash val="dash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7676665B-0B94-4914-9B2A-17F0E4C88AA0}"/>
              </a:ext>
            </a:extLst>
          </p:cNvPr>
          <p:cNvCxnSpPr/>
          <p:nvPr/>
        </p:nvCxnSpPr>
        <p:spPr>
          <a:xfrm>
            <a:off x="2346776" y="2795963"/>
            <a:ext cx="0" cy="2890033"/>
          </a:xfrm>
          <a:prstGeom prst="line">
            <a:avLst/>
          </a:prstGeom>
          <a:ln w="57150" cap="rnd">
            <a:solidFill>
              <a:schemeClr val="tx1"/>
            </a:solidFill>
            <a:prstDash val="dash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41AC604-2C2D-4B97-BDB8-C57433861696}"/>
              </a:ext>
            </a:extLst>
          </p:cNvPr>
          <p:cNvCxnSpPr>
            <a:cxnSpLocks/>
          </p:cNvCxnSpPr>
          <p:nvPr/>
        </p:nvCxnSpPr>
        <p:spPr>
          <a:xfrm>
            <a:off x="9736847" y="2774191"/>
            <a:ext cx="0" cy="3234723"/>
          </a:xfrm>
          <a:prstGeom prst="line">
            <a:avLst/>
          </a:prstGeom>
          <a:ln w="57150" cap="rnd">
            <a:solidFill>
              <a:schemeClr val="tx1"/>
            </a:solidFill>
            <a:prstDash val="dash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Slide Number Placeholder 124">
            <a:extLst>
              <a:ext uri="{FF2B5EF4-FFF2-40B4-BE49-F238E27FC236}">
                <a16:creationId xmlns:a16="http://schemas.microsoft.com/office/drawing/2014/main" id="{98FFDFA9-6AE5-66B2-C376-121B22D4C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20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7">
            <a:extLst>
              <a:ext uri="{FF2B5EF4-FFF2-40B4-BE49-F238E27FC236}">
                <a16:creationId xmlns:a16="http://schemas.microsoft.com/office/drawing/2014/main" id="{89DAD753-9DC8-ECE8-DA8D-EC8AE7D95E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3828" y="5721823"/>
            <a:ext cx="18403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WS HealthOmic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F5F89E6-4F3C-0F42-903D-566335E15F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07451" y="5248931"/>
            <a:ext cx="480262" cy="480262"/>
          </a:xfrm>
          <a:prstGeom prst="rect">
            <a:avLst/>
          </a:prstGeom>
        </p:spPr>
      </p:pic>
      <p:sp>
        <p:nvSpPr>
          <p:cNvPr id="8" name="TextBox 11">
            <a:extLst>
              <a:ext uri="{FF2B5EF4-FFF2-40B4-BE49-F238E27FC236}">
                <a16:creationId xmlns:a16="http://schemas.microsoft.com/office/drawing/2014/main" id="{0452ECA0-A432-67FF-7E9B-B0675B511F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85414" y="4055592"/>
            <a:ext cx="19159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WS HealthLak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4B1779B-2220-E134-CD10-930D8170E5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86562" y="3498407"/>
            <a:ext cx="480262" cy="480262"/>
          </a:xfrm>
          <a:prstGeom prst="rect">
            <a:avLst/>
          </a:prstGeom>
        </p:spPr>
      </p:pic>
      <p:pic>
        <p:nvPicPr>
          <p:cNvPr id="1026" name="Picture 2" descr="upload.wikimedia.org/wikipedia/commons/thumb/f/fb/...">
            <a:extLst>
              <a:ext uri="{FF2B5EF4-FFF2-40B4-BE49-F238E27FC236}">
                <a16:creationId xmlns:a16="http://schemas.microsoft.com/office/drawing/2014/main" id="{8B6F77E2-D2DB-0319-E693-CDEC8178B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876" y="3548036"/>
            <a:ext cx="1401677" cy="498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lintrialsdotgov - ACRP">
            <a:extLst>
              <a:ext uri="{FF2B5EF4-FFF2-40B4-BE49-F238E27FC236}">
                <a16:creationId xmlns:a16="http://schemas.microsoft.com/office/drawing/2014/main" id="{C6FB4EDF-6D9D-48FF-C793-BAD03D72B2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38" b="39729"/>
          <a:stretch/>
        </p:blipFill>
        <p:spPr bwMode="auto">
          <a:xfrm>
            <a:off x="5235013" y="5716308"/>
            <a:ext cx="1421292" cy="323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6A95CCF-4467-FA9B-B663-259C852D03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976" y="5345242"/>
            <a:ext cx="2027007" cy="256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AWS HealthImaging service icon.">
            <a:extLst>
              <a:ext uri="{FF2B5EF4-FFF2-40B4-BE49-F238E27FC236}">
                <a16:creationId xmlns:a16="http://schemas.microsoft.com/office/drawing/2014/main" id="{A58DA9D4-1ACE-ADE1-F0EC-FBED48B76C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113852" y="4361743"/>
            <a:ext cx="480262" cy="480262"/>
          </a:xfrm>
          <a:prstGeom prst="rect">
            <a:avLst/>
          </a:prstGeom>
        </p:spPr>
      </p:pic>
      <p:sp>
        <p:nvSpPr>
          <p:cNvPr id="15" name="TextBox 9">
            <a:extLst>
              <a:ext uri="{FF2B5EF4-FFF2-40B4-BE49-F238E27FC236}">
                <a16:creationId xmlns:a16="http://schemas.microsoft.com/office/drawing/2014/main" id="{78DDD0D4-A66D-B9B4-4B2B-39CED7E4A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03621" y="4900308"/>
            <a:ext cx="187480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WS HealthImaging</a:t>
            </a:r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01A87D10-26A0-A46F-CD01-042A0827B7FA}"/>
              </a:ext>
            </a:extLst>
          </p:cNvPr>
          <p:cNvGrpSpPr/>
          <p:nvPr/>
        </p:nvGrpSpPr>
        <p:grpSpPr>
          <a:xfrm>
            <a:off x="205896" y="3145380"/>
            <a:ext cx="954910" cy="783489"/>
            <a:chOff x="804393" y="3067050"/>
            <a:chExt cx="954910" cy="783489"/>
          </a:xfrm>
        </p:grpSpPr>
        <p:pic>
          <p:nvPicPr>
            <p:cNvPr id="16" name="Graphic 6" descr="General resource icon.">
              <a:extLst>
                <a:ext uri="{FF2B5EF4-FFF2-40B4-BE49-F238E27FC236}">
                  <a16:creationId xmlns:a16="http://schemas.microsoft.com/office/drawing/2014/main" id="{99BBEE8A-F3F0-27EC-8AD5-CDE4DEFF04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 bwMode="auto">
            <a:xfrm flipH="1">
              <a:off x="1042194" y="3067050"/>
              <a:ext cx="4699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259D6FF9-A76C-8362-45F1-A05BE2103C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4393" y="3573540"/>
              <a:ext cx="9549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Users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E023E0E-D32F-F525-73E4-E80A2881567D}"/>
              </a:ext>
            </a:extLst>
          </p:cNvPr>
          <p:cNvSpPr/>
          <p:nvPr/>
        </p:nvSpPr>
        <p:spPr>
          <a:xfrm>
            <a:off x="1386577" y="1805882"/>
            <a:ext cx="1229465" cy="3409882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A9C73B-EC38-BDB4-BD93-308EE7914CF5}"/>
              </a:ext>
            </a:extLst>
          </p:cNvPr>
          <p:cNvSpPr txBox="1"/>
          <p:nvPr/>
        </p:nvSpPr>
        <p:spPr>
          <a:xfrm>
            <a:off x="1502438" y="3462235"/>
            <a:ext cx="972419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8EF7D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Agents for Amazon Bedrock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D5A247C-7A46-95E6-78D7-1290BA128A3B}"/>
              </a:ext>
            </a:extLst>
          </p:cNvPr>
          <p:cNvCxnSpPr>
            <a:cxnSpLocks/>
          </p:cNvCxnSpPr>
          <p:nvPr/>
        </p:nvCxnSpPr>
        <p:spPr>
          <a:xfrm flipV="1">
            <a:off x="1027806" y="3444828"/>
            <a:ext cx="334163" cy="4560"/>
          </a:xfrm>
          <a:prstGeom prst="straightConnector1">
            <a:avLst/>
          </a:prstGeom>
          <a:ln w="19050" cap="rnd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D83CE75-FDB1-E5A1-199E-FBEF6E3CA014}"/>
              </a:ext>
            </a:extLst>
          </p:cNvPr>
          <p:cNvGrpSpPr/>
          <p:nvPr/>
        </p:nvGrpSpPr>
        <p:grpSpPr>
          <a:xfrm>
            <a:off x="1623944" y="2736370"/>
            <a:ext cx="735662" cy="570615"/>
            <a:chOff x="5610344" y="1866942"/>
            <a:chExt cx="735662" cy="570615"/>
          </a:xfrm>
        </p:grpSpPr>
        <p:grpSp>
          <p:nvGrpSpPr>
            <p:cNvPr id="30" name="Graphic 18">
              <a:extLst>
                <a:ext uri="{FF2B5EF4-FFF2-40B4-BE49-F238E27FC236}">
                  <a16:creationId xmlns:a16="http://schemas.microsoft.com/office/drawing/2014/main" id="{2FB95D26-EC29-9CB4-1A33-3A1CC93A971F}"/>
                </a:ext>
              </a:extLst>
            </p:cNvPr>
            <p:cNvGrpSpPr/>
            <p:nvPr/>
          </p:nvGrpSpPr>
          <p:grpSpPr>
            <a:xfrm>
              <a:off x="5672963" y="1866942"/>
              <a:ext cx="496385" cy="570615"/>
              <a:chOff x="6215194" y="1890080"/>
              <a:chExt cx="496385" cy="570615"/>
            </a:xfrm>
            <a:noFill/>
          </p:grpSpPr>
          <p:sp>
            <p:nvSpPr>
              <p:cNvPr id="46" name="Freeform: Shape 260">
                <a:extLst>
                  <a:ext uri="{FF2B5EF4-FFF2-40B4-BE49-F238E27FC236}">
                    <a16:creationId xmlns:a16="http://schemas.microsoft.com/office/drawing/2014/main" id="{111047D0-D811-A151-3F55-93F9853E5FAE}"/>
                  </a:ext>
                </a:extLst>
              </p:cNvPr>
              <p:cNvSpPr/>
              <p:nvPr/>
            </p:nvSpPr>
            <p:spPr>
              <a:xfrm>
                <a:off x="6640252" y="1933207"/>
                <a:ext cx="4146" cy="87499"/>
              </a:xfrm>
              <a:custGeom>
                <a:avLst/>
                <a:gdLst>
                  <a:gd name="connsiteX0" fmla="*/ 0 w 4146"/>
                  <a:gd name="connsiteY0" fmla="*/ 87500 h 87499"/>
                  <a:gd name="connsiteX1" fmla="*/ 0 w 4146"/>
                  <a:gd name="connsiteY1" fmla="*/ 0 h 87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6" h="87499">
                    <a:moveTo>
                      <a:pt x="0" y="8750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261">
                <a:extLst>
                  <a:ext uri="{FF2B5EF4-FFF2-40B4-BE49-F238E27FC236}">
                    <a16:creationId xmlns:a16="http://schemas.microsoft.com/office/drawing/2014/main" id="{E270B118-991D-EFC8-D6C7-5125B24BD129}"/>
                  </a:ext>
                </a:extLst>
              </p:cNvPr>
              <p:cNvSpPr/>
              <p:nvPr/>
            </p:nvSpPr>
            <p:spPr>
              <a:xfrm>
                <a:off x="6577634" y="2381489"/>
                <a:ext cx="63033" cy="37322"/>
              </a:xfrm>
              <a:custGeom>
                <a:avLst/>
                <a:gdLst>
                  <a:gd name="connsiteX0" fmla="*/ 63033 w 63033"/>
                  <a:gd name="connsiteY0" fmla="*/ 37322 h 37322"/>
                  <a:gd name="connsiteX1" fmla="*/ 0 w 63033"/>
                  <a:gd name="connsiteY1" fmla="*/ 0 h 37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033" h="37322">
                    <a:moveTo>
                      <a:pt x="63033" y="37322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262">
                <a:extLst>
                  <a:ext uri="{FF2B5EF4-FFF2-40B4-BE49-F238E27FC236}">
                    <a16:creationId xmlns:a16="http://schemas.microsoft.com/office/drawing/2014/main" id="{3CAC04EF-7095-4066-C35A-534DE2ABBC06}"/>
                  </a:ext>
                </a:extLst>
              </p:cNvPr>
              <p:cNvSpPr/>
              <p:nvPr/>
            </p:nvSpPr>
            <p:spPr>
              <a:xfrm>
                <a:off x="6497599" y="2360340"/>
                <a:ext cx="213980" cy="100355"/>
              </a:xfrm>
              <a:custGeom>
                <a:avLst/>
                <a:gdLst>
                  <a:gd name="connsiteX0" fmla="*/ 213981 w 213980"/>
                  <a:gd name="connsiteY0" fmla="*/ 0 h 100355"/>
                  <a:gd name="connsiteX1" fmla="*/ 213981 w 213980"/>
                  <a:gd name="connsiteY1" fmla="*/ 17002 h 100355"/>
                  <a:gd name="connsiteX2" fmla="*/ 71327 w 213980"/>
                  <a:gd name="connsiteY2" fmla="*/ 100355 h 100355"/>
                  <a:gd name="connsiteX3" fmla="*/ 0 w 213980"/>
                  <a:gd name="connsiteY3" fmla="*/ 62204 h 10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980" h="100355">
                    <a:moveTo>
                      <a:pt x="213981" y="0"/>
                    </a:moveTo>
                    <a:lnTo>
                      <a:pt x="213981" y="17002"/>
                    </a:lnTo>
                    <a:lnTo>
                      <a:pt x="71327" y="100355"/>
                    </a:lnTo>
                    <a:lnTo>
                      <a:pt x="0" y="62204"/>
                    </a:lnTo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263">
                <a:extLst>
                  <a:ext uri="{FF2B5EF4-FFF2-40B4-BE49-F238E27FC236}">
                    <a16:creationId xmlns:a16="http://schemas.microsoft.com/office/drawing/2014/main" id="{282D5373-47C1-B25D-825E-F6CB843BB32A}"/>
                  </a:ext>
                </a:extLst>
              </p:cNvPr>
              <p:cNvSpPr/>
              <p:nvPr/>
            </p:nvSpPr>
            <p:spPr>
              <a:xfrm>
                <a:off x="6497599" y="1890080"/>
                <a:ext cx="213980" cy="129383"/>
              </a:xfrm>
              <a:custGeom>
                <a:avLst/>
                <a:gdLst>
                  <a:gd name="connsiteX0" fmla="*/ 0 w 213980"/>
                  <a:gd name="connsiteY0" fmla="*/ 47275 h 129383"/>
                  <a:gd name="connsiteX1" fmla="*/ 71327 w 213980"/>
                  <a:gd name="connsiteY1" fmla="*/ 0 h 129383"/>
                  <a:gd name="connsiteX2" fmla="*/ 213981 w 213980"/>
                  <a:gd name="connsiteY2" fmla="*/ 82938 h 129383"/>
                  <a:gd name="connsiteX3" fmla="*/ 213981 w 213980"/>
                  <a:gd name="connsiteY3" fmla="*/ 129384 h 129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980" h="129383">
                    <a:moveTo>
                      <a:pt x="0" y="47275"/>
                    </a:moveTo>
                    <a:lnTo>
                      <a:pt x="71327" y="0"/>
                    </a:lnTo>
                    <a:lnTo>
                      <a:pt x="213981" y="82938"/>
                    </a:lnTo>
                    <a:lnTo>
                      <a:pt x="213981" y="129384"/>
                    </a:lnTo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264">
                <a:extLst>
                  <a:ext uri="{FF2B5EF4-FFF2-40B4-BE49-F238E27FC236}">
                    <a16:creationId xmlns:a16="http://schemas.microsoft.com/office/drawing/2014/main" id="{22C2C64B-15CA-AD9B-F23F-65D6CB555018}"/>
                  </a:ext>
                </a:extLst>
              </p:cNvPr>
              <p:cNvSpPr/>
              <p:nvPr/>
            </p:nvSpPr>
            <p:spPr>
              <a:xfrm>
                <a:off x="6286521" y="2068397"/>
                <a:ext cx="71326" cy="35663"/>
              </a:xfrm>
              <a:custGeom>
                <a:avLst/>
                <a:gdLst>
                  <a:gd name="connsiteX0" fmla="*/ 71327 w 71326"/>
                  <a:gd name="connsiteY0" fmla="*/ 35663 h 35663"/>
                  <a:gd name="connsiteX1" fmla="*/ 0 w 71326"/>
                  <a:gd name="connsiteY1" fmla="*/ 0 h 35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326" h="35663">
                    <a:moveTo>
                      <a:pt x="71327" y="35663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265">
                <a:extLst>
                  <a:ext uri="{FF2B5EF4-FFF2-40B4-BE49-F238E27FC236}">
                    <a16:creationId xmlns:a16="http://schemas.microsoft.com/office/drawing/2014/main" id="{AB9E3BDA-F943-337E-343C-B9D467E825E7}"/>
                  </a:ext>
                </a:extLst>
              </p:cNvPr>
              <p:cNvSpPr/>
              <p:nvPr/>
            </p:nvSpPr>
            <p:spPr>
              <a:xfrm>
                <a:off x="6357847" y="1933207"/>
                <a:ext cx="4146" cy="87499"/>
              </a:xfrm>
              <a:custGeom>
                <a:avLst/>
                <a:gdLst>
                  <a:gd name="connsiteX0" fmla="*/ 0 w 4146"/>
                  <a:gd name="connsiteY0" fmla="*/ 87500 h 87499"/>
                  <a:gd name="connsiteX1" fmla="*/ 0 w 4146"/>
                  <a:gd name="connsiteY1" fmla="*/ 0 h 87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46" h="87499">
                    <a:moveTo>
                      <a:pt x="0" y="8750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266">
                <a:extLst>
                  <a:ext uri="{FF2B5EF4-FFF2-40B4-BE49-F238E27FC236}">
                    <a16:creationId xmlns:a16="http://schemas.microsoft.com/office/drawing/2014/main" id="{FD1849B8-FBD1-092B-4B6A-4F76978F0D4B}"/>
                  </a:ext>
                </a:extLst>
              </p:cNvPr>
              <p:cNvSpPr/>
              <p:nvPr/>
            </p:nvSpPr>
            <p:spPr>
              <a:xfrm>
                <a:off x="6215194" y="2138894"/>
                <a:ext cx="68838" cy="40225"/>
              </a:xfrm>
              <a:custGeom>
                <a:avLst/>
                <a:gdLst>
                  <a:gd name="connsiteX0" fmla="*/ 0 w 68838"/>
                  <a:gd name="connsiteY0" fmla="*/ 40225 h 40225"/>
                  <a:gd name="connsiteX1" fmla="*/ 68839 w 68838"/>
                  <a:gd name="connsiteY1" fmla="*/ 0 h 40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8838" h="40225">
                    <a:moveTo>
                      <a:pt x="0" y="40225"/>
                    </a:moveTo>
                    <a:lnTo>
                      <a:pt x="68839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267">
                <a:extLst>
                  <a:ext uri="{FF2B5EF4-FFF2-40B4-BE49-F238E27FC236}">
                    <a16:creationId xmlns:a16="http://schemas.microsoft.com/office/drawing/2014/main" id="{5D1CAE51-C556-9087-139E-CD228F2C56C8}"/>
                  </a:ext>
                </a:extLst>
              </p:cNvPr>
              <p:cNvSpPr/>
              <p:nvPr/>
            </p:nvSpPr>
            <p:spPr>
              <a:xfrm>
                <a:off x="6356189" y="2381489"/>
                <a:ext cx="64277" cy="38151"/>
              </a:xfrm>
              <a:custGeom>
                <a:avLst/>
                <a:gdLst>
                  <a:gd name="connsiteX0" fmla="*/ 0 w 64277"/>
                  <a:gd name="connsiteY0" fmla="*/ 38152 h 38151"/>
                  <a:gd name="connsiteX1" fmla="*/ 64277 w 64277"/>
                  <a:gd name="connsiteY1" fmla="*/ 0 h 38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277" h="38151">
                    <a:moveTo>
                      <a:pt x="0" y="38152"/>
                    </a:moveTo>
                    <a:lnTo>
                      <a:pt x="64277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268">
                <a:extLst>
                  <a:ext uri="{FF2B5EF4-FFF2-40B4-BE49-F238E27FC236}">
                    <a16:creationId xmlns:a16="http://schemas.microsoft.com/office/drawing/2014/main" id="{5A5FCE76-3658-8864-8207-C9ECE03C7E37}"/>
                  </a:ext>
                </a:extLst>
              </p:cNvPr>
              <p:cNvSpPr/>
              <p:nvPr/>
            </p:nvSpPr>
            <p:spPr>
              <a:xfrm>
                <a:off x="6318866" y="2396418"/>
                <a:ext cx="181634" cy="64277"/>
              </a:xfrm>
              <a:custGeom>
                <a:avLst/>
                <a:gdLst>
                  <a:gd name="connsiteX0" fmla="*/ 0 w 181634"/>
                  <a:gd name="connsiteY0" fmla="*/ 0 h 64277"/>
                  <a:gd name="connsiteX1" fmla="*/ 110308 w 181634"/>
                  <a:gd name="connsiteY1" fmla="*/ 64277 h 64277"/>
                  <a:gd name="connsiteX2" fmla="*/ 181635 w 181634"/>
                  <a:gd name="connsiteY2" fmla="*/ 26126 h 6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1634" h="64277">
                    <a:moveTo>
                      <a:pt x="0" y="0"/>
                    </a:moveTo>
                    <a:lnTo>
                      <a:pt x="110308" y="64277"/>
                    </a:lnTo>
                    <a:lnTo>
                      <a:pt x="181635" y="26126"/>
                    </a:lnTo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269">
                <a:extLst>
                  <a:ext uri="{FF2B5EF4-FFF2-40B4-BE49-F238E27FC236}">
                    <a16:creationId xmlns:a16="http://schemas.microsoft.com/office/drawing/2014/main" id="{C88BF49F-27E6-0D94-AC13-12776515FBBD}"/>
                  </a:ext>
                </a:extLst>
              </p:cNvPr>
              <p:cNvSpPr/>
              <p:nvPr/>
            </p:nvSpPr>
            <p:spPr>
              <a:xfrm>
                <a:off x="6215194" y="1890080"/>
                <a:ext cx="285307" cy="320971"/>
              </a:xfrm>
              <a:custGeom>
                <a:avLst/>
                <a:gdLst>
                  <a:gd name="connsiteX0" fmla="*/ 285308 w 285307"/>
                  <a:gd name="connsiteY0" fmla="*/ 47275 h 320971"/>
                  <a:gd name="connsiteX1" fmla="*/ 213981 w 285307"/>
                  <a:gd name="connsiteY1" fmla="*/ 0 h 320971"/>
                  <a:gd name="connsiteX2" fmla="*/ 71327 w 285307"/>
                  <a:gd name="connsiteY2" fmla="*/ 82938 h 320971"/>
                  <a:gd name="connsiteX3" fmla="*/ 71327 w 285307"/>
                  <a:gd name="connsiteY3" fmla="*/ 177488 h 320971"/>
                  <a:gd name="connsiteX4" fmla="*/ 0 w 285307"/>
                  <a:gd name="connsiteY4" fmla="*/ 213981 h 320971"/>
                  <a:gd name="connsiteX5" fmla="*/ 0 w 285307"/>
                  <a:gd name="connsiteY5" fmla="*/ 288211 h 320971"/>
                  <a:gd name="connsiteX6" fmla="*/ 0 w 285307"/>
                  <a:gd name="connsiteY6" fmla="*/ 320971 h 32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307" h="320971">
                    <a:moveTo>
                      <a:pt x="285308" y="47275"/>
                    </a:moveTo>
                    <a:lnTo>
                      <a:pt x="213981" y="0"/>
                    </a:lnTo>
                    <a:lnTo>
                      <a:pt x="71327" y="82938"/>
                    </a:lnTo>
                    <a:lnTo>
                      <a:pt x="71327" y="177488"/>
                    </a:lnTo>
                    <a:lnTo>
                      <a:pt x="0" y="213981"/>
                    </a:lnTo>
                    <a:lnTo>
                      <a:pt x="0" y="288211"/>
                    </a:lnTo>
                    <a:lnTo>
                      <a:pt x="0" y="320971"/>
                    </a:lnTo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aphic 18">
              <a:extLst>
                <a:ext uri="{FF2B5EF4-FFF2-40B4-BE49-F238E27FC236}">
                  <a16:creationId xmlns:a16="http://schemas.microsoft.com/office/drawing/2014/main" id="{0CC574BD-89D8-E9F3-EA9A-11A9DC56CCAB}"/>
                </a:ext>
              </a:extLst>
            </p:cNvPr>
            <p:cNvGrpSpPr/>
            <p:nvPr/>
          </p:nvGrpSpPr>
          <p:grpSpPr>
            <a:xfrm>
              <a:off x="5872840" y="2023728"/>
              <a:ext cx="252965" cy="298130"/>
              <a:chOff x="6415071" y="2046866"/>
              <a:chExt cx="252965" cy="298130"/>
            </a:xfrm>
            <a:noFill/>
          </p:grpSpPr>
          <p:sp>
            <p:nvSpPr>
              <p:cNvPr id="41" name="Freeform: Shape 255">
                <a:extLst>
                  <a:ext uri="{FF2B5EF4-FFF2-40B4-BE49-F238E27FC236}">
                    <a16:creationId xmlns:a16="http://schemas.microsoft.com/office/drawing/2014/main" id="{BECD884C-7505-9CF1-3760-F88DA2E1E447}"/>
                  </a:ext>
                </a:extLst>
              </p:cNvPr>
              <p:cNvSpPr/>
              <p:nvPr/>
            </p:nvSpPr>
            <p:spPr>
              <a:xfrm>
                <a:off x="6480181" y="2195707"/>
                <a:ext cx="187855" cy="4146"/>
              </a:xfrm>
              <a:custGeom>
                <a:avLst/>
                <a:gdLst>
                  <a:gd name="connsiteX0" fmla="*/ 0 w 187855"/>
                  <a:gd name="connsiteY0" fmla="*/ 0 h 4146"/>
                  <a:gd name="connsiteX1" fmla="*/ 187855 w 187855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7855" h="4146">
                    <a:moveTo>
                      <a:pt x="0" y="0"/>
                    </a:moveTo>
                    <a:lnTo>
                      <a:pt x="187855" y="0"/>
                    </a:lnTo>
                  </a:path>
                </a:pathLst>
              </a:custGeom>
              <a:ln w="12700" cap="flat">
                <a:solidFill>
                  <a:srgbClr val="01A9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256">
                <a:extLst>
                  <a:ext uri="{FF2B5EF4-FFF2-40B4-BE49-F238E27FC236}">
                    <a16:creationId xmlns:a16="http://schemas.microsoft.com/office/drawing/2014/main" id="{21C9AE8E-9626-44A3-0BFD-2370B3FC6A37}"/>
                  </a:ext>
                </a:extLst>
              </p:cNvPr>
              <p:cNvSpPr/>
              <p:nvPr/>
            </p:nvSpPr>
            <p:spPr>
              <a:xfrm>
                <a:off x="6480181" y="2073373"/>
                <a:ext cx="93720" cy="245082"/>
              </a:xfrm>
              <a:custGeom>
                <a:avLst/>
                <a:gdLst>
                  <a:gd name="connsiteX0" fmla="*/ 0 w 93720"/>
                  <a:gd name="connsiteY0" fmla="*/ 0 h 245082"/>
                  <a:gd name="connsiteX1" fmla="*/ 93720 w 93720"/>
                  <a:gd name="connsiteY1" fmla="*/ 0 h 245082"/>
                  <a:gd name="connsiteX2" fmla="*/ 93720 w 93720"/>
                  <a:gd name="connsiteY2" fmla="*/ 245083 h 245082"/>
                  <a:gd name="connsiteX3" fmla="*/ 0 w 93720"/>
                  <a:gd name="connsiteY3" fmla="*/ 245083 h 24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720" h="245082">
                    <a:moveTo>
                      <a:pt x="0" y="0"/>
                    </a:moveTo>
                    <a:lnTo>
                      <a:pt x="93720" y="0"/>
                    </a:lnTo>
                    <a:lnTo>
                      <a:pt x="93720" y="245083"/>
                    </a:lnTo>
                    <a:lnTo>
                      <a:pt x="0" y="245083"/>
                    </a:lnTo>
                  </a:path>
                </a:pathLst>
              </a:custGeom>
              <a:noFill/>
              <a:ln w="12700" cap="flat">
                <a:solidFill>
                  <a:srgbClr val="01A9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257">
                <a:extLst>
                  <a:ext uri="{FF2B5EF4-FFF2-40B4-BE49-F238E27FC236}">
                    <a16:creationId xmlns:a16="http://schemas.microsoft.com/office/drawing/2014/main" id="{FD62CC65-E4D4-AB46-D017-5BC6AA8B28C2}"/>
                  </a:ext>
                </a:extLst>
              </p:cNvPr>
              <p:cNvSpPr/>
              <p:nvPr/>
            </p:nvSpPr>
            <p:spPr>
              <a:xfrm rot="5400000">
                <a:off x="6415071" y="2046866"/>
                <a:ext cx="53080" cy="53080"/>
              </a:xfrm>
              <a:custGeom>
                <a:avLst/>
                <a:gdLst>
                  <a:gd name="connsiteX0" fmla="*/ 0 w 53080"/>
                  <a:gd name="connsiteY0" fmla="*/ 0 h 53080"/>
                  <a:gd name="connsiteX1" fmla="*/ 53080 w 53080"/>
                  <a:gd name="connsiteY1" fmla="*/ 0 h 53080"/>
                  <a:gd name="connsiteX2" fmla="*/ 53080 w 53080"/>
                  <a:gd name="connsiteY2" fmla="*/ 53081 h 53080"/>
                  <a:gd name="connsiteX3" fmla="*/ 0 w 53080"/>
                  <a:gd name="connsiteY3" fmla="*/ 53081 h 5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080" h="53080">
                    <a:moveTo>
                      <a:pt x="0" y="0"/>
                    </a:moveTo>
                    <a:lnTo>
                      <a:pt x="53080" y="0"/>
                    </a:lnTo>
                    <a:lnTo>
                      <a:pt x="53080" y="53081"/>
                    </a:lnTo>
                    <a:lnTo>
                      <a:pt x="0" y="53081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1A9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258">
                <a:extLst>
                  <a:ext uri="{FF2B5EF4-FFF2-40B4-BE49-F238E27FC236}">
                    <a16:creationId xmlns:a16="http://schemas.microsoft.com/office/drawing/2014/main" id="{07C92ACA-450E-20E7-8683-337FD34E61EF}"/>
                  </a:ext>
                </a:extLst>
              </p:cNvPr>
              <p:cNvSpPr/>
              <p:nvPr/>
            </p:nvSpPr>
            <p:spPr>
              <a:xfrm>
                <a:off x="6415490" y="2161702"/>
                <a:ext cx="52665" cy="68424"/>
              </a:xfrm>
              <a:custGeom>
                <a:avLst/>
                <a:gdLst>
                  <a:gd name="connsiteX0" fmla="*/ 0 w 52665"/>
                  <a:gd name="connsiteY0" fmla="*/ 68424 h 68424"/>
                  <a:gd name="connsiteX1" fmla="*/ 0 w 52665"/>
                  <a:gd name="connsiteY1" fmla="*/ 0 h 68424"/>
                  <a:gd name="connsiteX2" fmla="*/ 52666 w 52665"/>
                  <a:gd name="connsiteY2" fmla="*/ 34005 h 68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665" h="68424">
                    <a:moveTo>
                      <a:pt x="0" y="68424"/>
                    </a:moveTo>
                    <a:lnTo>
                      <a:pt x="0" y="0"/>
                    </a:lnTo>
                    <a:lnTo>
                      <a:pt x="52666" y="34005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1A9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259">
                <a:extLst>
                  <a:ext uri="{FF2B5EF4-FFF2-40B4-BE49-F238E27FC236}">
                    <a16:creationId xmlns:a16="http://schemas.microsoft.com/office/drawing/2014/main" id="{1240E9B0-1255-210E-B48D-124DD94A8D5D}"/>
                  </a:ext>
                </a:extLst>
              </p:cNvPr>
              <p:cNvSpPr/>
              <p:nvPr/>
            </p:nvSpPr>
            <p:spPr>
              <a:xfrm>
                <a:off x="6415490" y="2292330"/>
                <a:ext cx="52665" cy="52665"/>
              </a:xfrm>
              <a:custGeom>
                <a:avLst/>
                <a:gdLst>
                  <a:gd name="connsiteX0" fmla="*/ 0 w 52665"/>
                  <a:gd name="connsiteY0" fmla="*/ 30272 h 52665"/>
                  <a:gd name="connsiteX1" fmla="*/ 0 w 52665"/>
                  <a:gd name="connsiteY1" fmla="*/ 22393 h 52665"/>
                  <a:gd name="connsiteX2" fmla="*/ 22393 w 52665"/>
                  <a:gd name="connsiteY2" fmla="*/ 0 h 52665"/>
                  <a:gd name="connsiteX3" fmla="*/ 30272 w 52665"/>
                  <a:gd name="connsiteY3" fmla="*/ 0 h 52665"/>
                  <a:gd name="connsiteX4" fmla="*/ 52666 w 52665"/>
                  <a:gd name="connsiteY4" fmla="*/ 22393 h 52665"/>
                  <a:gd name="connsiteX5" fmla="*/ 52666 w 52665"/>
                  <a:gd name="connsiteY5" fmla="*/ 30272 h 52665"/>
                  <a:gd name="connsiteX6" fmla="*/ 30272 w 52665"/>
                  <a:gd name="connsiteY6" fmla="*/ 52666 h 52665"/>
                  <a:gd name="connsiteX7" fmla="*/ 22393 w 52665"/>
                  <a:gd name="connsiteY7" fmla="*/ 52666 h 52665"/>
                  <a:gd name="connsiteX8" fmla="*/ 0 w 52665"/>
                  <a:gd name="connsiteY8" fmla="*/ 30272 h 52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665" h="52665">
                    <a:moveTo>
                      <a:pt x="0" y="30272"/>
                    </a:moveTo>
                    <a:lnTo>
                      <a:pt x="0" y="22393"/>
                    </a:lnTo>
                    <a:cubicBezTo>
                      <a:pt x="0" y="9953"/>
                      <a:pt x="9953" y="0"/>
                      <a:pt x="22393" y="0"/>
                    </a:cubicBezTo>
                    <a:lnTo>
                      <a:pt x="30272" y="0"/>
                    </a:lnTo>
                    <a:cubicBezTo>
                      <a:pt x="42713" y="0"/>
                      <a:pt x="52666" y="9953"/>
                      <a:pt x="52666" y="22393"/>
                    </a:cubicBezTo>
                    <a:lnTo>
                      <a:pt x="52666" y="30272"/>
                    </a:lnTo>
                    <a:cubicBezTo>
                      <a:pt x="52666" y="42713"/>
                      <a:pt x="42713" y="52666"/>
                      <a:pt x="30272" y="52666"/>
                    </a:cubicBezTo>
                    <a:lnTo>
                      <a:pt x="22393" y="52666"/>
                    </a:lnTo>
                    <a:cubicBezTo>
                      <a:pt x="9953" y="52666"/>
                      <a:pt x="0" y="42713"/>
                      <a:pt x="0" y="30272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1A98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aphic 18">
              <a:extLst>
                <a:ext uri="{FF2B5EF4-FFF2-40B4-BE49-F238E27FC236}">
                  <a16:creationId xmlns:a16="http://schemas.microsoft.com/office/drawing/2014/main" id="{DBF23635-DB70-29BE-A781-EC5BEE0C80FE}"/>
                </a:ext>
              </a:extLst>
            </p:cNvPr>
            <p:cNvGrpSpPr/>
            <p:nvPr/>
          </p:nvGrpSpPr>
          <p:grpSpPr>
            <a:xfrm>
              <a:off x="6154419" y="2027842"/>
              <a:ext cx="191587" cy="274940"/>
              <a:chOff x="6696650" y="2050980"/>
              <a:chExt cx="191587" cy="274940"/>
            </a:xfrm>
            <a:noFill/>
          </p:grpSpPr>
          <p:sp>
            <p:nvSpPr>
              <p:cNvPr id="34" name="Freeform: Shape 248">
                <a:extLst>
                  <a:ext uri="{FF2B5EF4-FFF2-40B4-BE49-F238E27FC236}">
                    <a16:creationId xmlns:a16="http://schemas.microsoft.com/office/drawing/2014/main" id="{2A659AEB-C015-1C46-B8FC-51DFDC6D0EA8}"/>
                  </a:ext>
                </a:extLst>
              </p:cNvPr>
              <p:cNvSpPr/>
              <p:nvPr/>
            </p:nvSpPr>
            <p:spPr>
              <a:xfrm>
                <a:off x="6696650" y="2050980"/>
                <a:ext cx="191587" cy="274940"/>
              </a:xfrm>
              <a:custGeom>
                <a:avLst/>
                <a:gdLst>
                  <a:gd name="connsiteX0" fmla="*/ 0 w 191587"/>
                  <a:gd name="connsiteY0" fmla="*/ 266232 h 274940"/>
                  <a:gd name="connsiteX1" fmla="*/ 0 w 191587"/>
                  <a:gd name="connsiteY1" fmla="*/ 8709 h 274940"/>
                  <a:gd name="connsiteX2" fmla="*/ 8709 w 191587"/>
                  <a:gd name="connsiteY2" fmla="*/ 0 h 274940"/>
                  <a:gd name="connsiteX3" fmla="*/ 127725 w 191587"/>
                  <a:gd name="connsiteY3" fmla="*/ 0 h 274940"/>
                  <a:gd name="connsiteX4" fmla="*/ 191587 w 191587"/>
                  <a:gd name="connsiteY4" fmla="*/ 63862 h 274940"/>
                  <a:gd name="connsiteX5" fmla="*/ 191587 w 191587"/>
                  <a:gd name="connsiteY5" fmla="*/ 266232 h 274940"/>
                  <a:gd name="connsiteX6" fmla="*/ 182879 w 191587"/>
                  <a:gd name="connsiteY6" fmla="*/ 274940 h 274940"/>
                  <a:gd name="connsiteX7" fmla="*/ 8709 w 191587"/>
                  <a:gd name="connsiteY7" fmla="*/ 274940 h 274940"/>
                  <a:gd name="connsiteX8" fmla="*/ 0 w 191587"/>
                  <a:gd name="connsiteY8" fmla="*/ 266232 h 274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1587" h="274940">
                    <a:moveTo>
                      <a:pt x="0" y="266232"/>
                    </a:moveTo>
                    <a:lnTo>
                      <a:pt x="0" y="8709"/>
                    </a:lnTo>
                    <a:cubicBezTo>
                      <a:pt x="0" y="3732"/>
                      <a:pt x="3732" y="0"/>
                      <a:pt x="8709" y="0"/>
                    </a:cubicBezTo>
                    <a:lnTo>
                      <a:pt x="127725" y="0"/>
                    </a:lnTo>
                    <a:lnTo>
                      <a:pt x="191587" y="63862"/>
                    </a:lnTo>
                    <a:lnTo>
                      <a:pt x="191587" y="266232"/>
                    </a:lnTo>
                    <a:cubicBezTo>
                      <a:pt x="191587" y="271208"/>
                      <a:pt x="187855" y="274940"/>
                      <a:pt x="182879" y="274940"/>
                    </a:cubicBezTo>
                    <a:lnTo>
                      <a:pt x="8709" y="274940"/>
                    </a:lnTo>
                    <a:cubicBezTo>
                      <a:pt x="3732" y="274940"/>
                      <a:pt x="0" y="271208"/>
                      <a:pt x="0" y="266232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249">
                <a:extLst>
                  <a:ext uri="{FF2B5EF4-FFF2-40B4-BE49-F238E27FC236}">
                    <a16:creationId xmlns:a16="http://schemas.microsoft.com/office/drawing/2014/main" id="{53FB6612-7401-A579-FB0B-D302AD869639}"/>
                  </a:ext>
                </a:extLst>
              </p:cNvPr>
              <p:cNvSpPr/>
              <p:nvPr/>
            </p:nvSpPr>
            <p:spPr>
              <a:xfrm>
                <a:off x="6823961" y="2050980"/>
                <a:ext cx="64277" cy="63862"/>
              </a:xfrm>
              <a:custGeom>
                <a:avLst/>
                <a:gdLst>
                  <a:gd name="connsiteX0" fmla="*/ 0 w 64277"/>
                  <a:gd name="connsiteY0" fmla="*/ 63862 h 63862"/>
                  <a:gd name="connsiteX1" fmla="*/ 64277 w 64277"/>
                  <a:gd name="connsiteY1" fmla="*/ 63862 h 63862"/>
                  <a:gd name="connsiteX2" fmla="*/ 0 w 64277"/>
                  <a:gd name="connsiteY2" fmla="*/ 0 h 6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277" h="63862">
                    <a:moveTo>
                      <a:pt x="0" y="63862"/>
                    </a:moveTo>
                    <a:lnTo>
                      <a:pt x="64277" y="63862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250">
                <a:extLst>
                  <a:ext uri="{FF2B5EF4-FFF2-40B4-BE49-F238E27FC236}">
                    <a16:creationId xmlns:a16="http://schemas.microsoft.com/office/drawing/2014/main" id="{221199AF-EC46-D24A-59A0-2F07A99AEF18}"/>
                  </a:ext>
                </a:extLst>
              </p:cNvPr>
              <p:cNvSpPr/>
              <p:nvPr/>
            </p:nvSpPr>
            <p:spPr>
              <a:xfrm>
                <a:off x="6724849" y="2166679"/>
                <a:ext cx="135189" cy="4146"/>
              </a:xfrm>
              <a:custGeom>
                <a:avLst/>
                <a:gdLst>
                  <a:gd name="connsiteX0" fmla="*/ 0 w 135189"/>
                  <a:gd name="connsiteY0" fmla="*/ 0 h 4146"/>
                  <a:gd name="connsiteX1" fmla="*/ 135189 w 135189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89" h="4146">
                    <a:moveTo>
                      <a:pt x="0" y="0"/>
                    </a:moveTo>
                    <a:lnTo>
                      <a:pt x="135189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1">
                <a:extLst>
                  <a:ext uri="{FF2B5EF4-FFF2-40B4-BE49-F238E27FC236}">
                    <a16:creationId xmlns:a16="http://schemas.microsoft.com/office/drawing/2014/main" id="{CCF7188C-EFDC-1E81-4311-F75DF4C2AA53}"/>
                  </a:ext>
                </a:extLst>
              </p:cNvPr>
              <p:cNvSpPr/>
              <p:nvPr/>
            </p:nvSpPr>
            <p:spPr>
              <a:xfrm>
                <a:off x="6724849" y="2204001"/>
                <a:ext cx="135189" cy="4146"/>
              </a:xfrm>
              <a:custGeom>
                <a:avLst/>
                <a:gdLst>
                  <a:gd name="connsiteX0" fmla="*/ 0 w 135189"/>
                  <a:gd name="connsiteY0" fmla="*/ 0 h 4146"/>
                  <a:gd name="connsiteX1" fmla="*/ 135189 w 135189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89" h="4146">
                    <a:moveTo>
                      <a:pt x="0" y="0"/>
                    </a:moveTo>
                    <a:lnTo>
                      <a:pt x="135189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252">
                <a:extLst>
                  <a:ext uri="{FF2B5EF4-FFF2-40B4-BE49-F238E27FC236}">
                    <a16:creationId xmlns:a16="http://schemas.microsoft.com/office/drawing/2014/main" id="{470B2B83-3179-A727-8623-1555FC399471}"/>
                  </a:ext>
                </a:extLst>
              </p:cNvPr>
              <p:cNvSpPr/>
              <p:nvPr/>
            </p:nvSpPr>
            <p:spPr>
              <a:xfrm>
                <a:off x="6724849" y="2241323"/>
                <a:ext cx="135189" cy="4146"/>
              </a:xfrm>
              <a:custGeom>
                <a:avLst/>
                <a:gdLst>
                  <a:gd name="connsiteX0" fmla="*/ 0 w 135189"/>
                  <a:gd name="connsiteY0" fmla="*/ 0 h 4146"/>
                  <a:gd name="connsiteX1" fmla="*/ 135189 w 135189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89" h="4146">
                    <a:moveTo>
                      <a:pt x="0" y="0"/>
                    </a:moveTo>
                    <a:lnTo>
                      <a:pt x="135189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253">
                <a:extLst>
                  <a:ext uri="{FF2B5EF4-FFF2-40B4-BE49-F238E27FC236}">
                    <a16:creationId xmlns:a16="http://schemas.microsoft.com/office/drawing/2014/main" id="{52EEE49A-20D0-5D84-1875-C01D5D78400F}"/>
                  </a:ext>
                </a:extLst>
              </p:cNvPr>
              <p:cNvSpPr/>
              <p:nvPr/>
            </p:nvSpPr>
            <p:spPr>
              <a:xfrm>
                <a:off x="6724849" y="2279060"/>
                <a:ext cx="135189" cy="4146"/>
              </a:xfrm>
              <a:custGeom>
                <a:avLst/>
                <a:gdLst>
                  <a:gd name="connsiteX0" fmla="*/ 0 w 135189"/>
                  <a:gd name="connsiteY0" fmla="*/ 0 h 4146"/>
                  <a:gd name="connsiteX1" fmla="*/ 135189 w 135189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89" h="4146">
                    <a:moveTo>
                      <a:pt x="0" y="0"/>
                    </a:moveTo>
                    <a:lnTo>
                      <a:pt x="135189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254">
                <a:extLst>
                  <a:ext uri="{FF2B5EF4-FFF2-40B4-BE49-F238E27FC236}">
                    <a16:creationId xmlns:a16="http://schemas.microsoft.com/office/drawing/2014/main" id="{6CC4EA18-0A77-D76D-B0A1-C5FBC2F6221B}"/>
                  </a:ext>
                </a:extLst>
              </p:cNvPr>
              <p:cNvSpPr/>
              <p:nvPr/>
            </p:nvSpPr>
            <p:spPr>
              <a:xfrm>
                <a:off x="6724849" y="2128942"/>
                <a:ext cx="76303" cy="4146"/>
              </a:xfrm>
              <a:custGeom>
                <a:avLst/>
                <a:gdLst>
                  <a:gd name="connsiteX0" fmla="*/ 0 w 76303"/>
                  <a:gd name="connsiteY0" fmla="*/ 0 h 4146"/>
                  <a:gd name="connsiteX1" fmla="*/ 76303 w 76303"/>
                  <a:gd name="connsiteY1" fmla="*/ 0 h 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03" h="4146">
                    <a:moveTo>
                      <a:pt x="0" y="0"/>
                    </a:moveTo>
                    <a:lnTo>
                      <a:pt x="76303" y="0"/>
                    </a:lnTo>
                  </a:path>
                </a:pathLst>
              </a:custGeom>
              <a:ln w="12700" cap="flat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</p:grpSp>
        <p:sp>
          <p:nvSpPr>
            <p:cNvPr id="33" name="Freeform: Shape 247">
              <a:extLst>
                <a:ext uri="{FF2B5EF4-FFF2-40B4-BE49-F238E27FC236}">
                  <a16:creationId xmlns:a16="http://schemas.microsoft.com/office/drawing/2014/main" id="{A60DAF2A-47BD-0FA8-E0D8-12D358855B1B}"/>
                </a:ext>
              </a:extLst>
            </p:cNvPr>
            <p:cNvSpPr/>
            <p:nvPr/>
          </p:nvSpPr>
          <p:spPr>
            <a:xfrm>
              <a:off x="5610344" y="2221088"/>
              <a:ext cx="179561" cy="161314"/>
            </a:xfrm>
            <a:custGeom>
              <a:avLst/>
              <a:gdLst>
                <a:gd name="connsiteX0" fmla="*/ 95794 w 179561"/>
                <a:gd name="connsiteY0" fmla="*/ 99111 h 161314"/>
                <a:gd name="connsiteX1" fmla="*/ 29028 w 179561"/>
                <a:gd name="connsiteY1" fmla="*/ 154680 h 161314"/>
                <a:gd name="connsiteX2" fmla="*/ 0 w 179561"/>
                <a:gd name="connsiteY2" fmla="*/ 119846 h 161314"/>
                <a:gd name="connsiteX3" fmla="*/ 66765 w 179561"/>
                <a:gd name="connsiteY3" fmla="*/ 64277 h 161314"/>
                <a:gd name="connsiteX4" fmla="*/ 8294 w 179561"/>
                <a:gd name="connsiteY4" fmla="*/ 38981 h 161314"/>
                <a:gd name="connsiteX5" fmla="*/ 179561 w 179561"/>
                <a:gd name="connsiteY5" fmla="*/ 0 h 161314"/>
                <a:gd name="connsiteX6" fmla="*/ 109893 w 179561"/>
                <a:gd name="connsiteY6" fmla="*/ 161315 h 16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61" h="161314">
                  <a:moveTo>
                    <a:pt x="95794" y="99111"/>
                  </a:moveTo>
                  <a:lnTo>
                    <a:pt x="29028" y="154680"/>
                  </a:lnTo>
                  <a:lnTo>
                    <a:pt x="0" y="119846"/>
                  </a:lnTo>
                  <a:lnTo>
                    <a:pt x="66765" y="64277"/>
                  </a:lnTo>
                  <a:lnTo>
                    <a:pt x="8294" y="38981"/>
                  </a:lnTo>
                  <a:lnTo>
                    <a:pt x="179561" y="0"/>
                  </a:lnTo>
                  <a:lnTo>
                    <a:pt x="109893" y="161315"/>
                  </a:lnTo>
                  <a:close/>
                </a:path>
              </a:pathLst>
            </a:custGeom>
            <a:noFill/>
            <a:ln w="12700" cap="flat">
              <a:solidFill>
                <a:srgbClr val="01A98D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mazon Ember"/>
                <a:ea typeface="+mn-ea"/>
                <a:cs typeface="+mn-cs"/>
              </a:endParaRPr>
            </a:p>
          </p:txBody>
        </p:sp>
      </p:grp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C29BB218-326B-FC97-7510-FA5A361BD0B8}"/>
              </a:ext>
            </a:extLst>
          </p:cNvPr>
          <p:cNvCxnSpPr>
            <a:cxnSpLocks/>
            <a:stCxn id="1024" idx="3"/>
          </p:cNvCxnSpPr>
          <p:nvPr/>
        </p:nvCxnSpPr>
        <p:spPr>
          <a:xfrm>
            <a:off x="4303134" y="4199326"/>
            <a:ext cx="446603" cy="166443"/>
          </a:xfrm>
          <a:prstGeom prst="bentConnector3">
            <a:avLst>
              <a:gd name="adj1" fmla="val 50000"/>
            </a:avLst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>
            <a:extLst>
              <a:ext uri="{FF2B5EF4-FFF2-40B4-BE49-F238E27FC236}">
                <a16:creationId xmlns:a16="http://schemas.microsoft.com/office/drawing/2014/main" id="{A59CFC9D-E83D-1440-A0E3-AE77F7D105E9}"/>
              </a:ext>
            </a:extLst>
          </p:cNvPr>
          <p:cNvCxnSpPr>
            <a:cxnSpLocks/>
            <a:endCxn id="1029" idx="3"/>
          </p:cNvCxnSpPr>
          <p:nvPr/>
        </p:nvCxnSpPr>
        <p:spPr>
          <a:xfrm rot="10800000" flipV="1">
            <a:off x="4280049" y="4335348"/>
            <a:ext cx="486284" cy="166518"/>
          </a:xfrm>
          <a:prstGeom prst="bentConnector3">
            <a:avLst>
              <a:gd name="adj1" fmla="val 50000"/>
            </a:avLst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216">
            <a:extLst>
              <a:ext uri="{FF2B5EF4-FFF2-40B4-BE49-F238E27FC236}">
                <a16:creationId xmlns:a16="http://schemas.microsoft.com/office/drawing/2014/main" id="{37C5B123-03E2-B01E-ACF9-57419977CB53}"/>
              </a:ext>
            </a:extLst>
          </p:cNvPr>
          <p:cNvSpPr/>
          <p:nvPr/>
        </p:nvSpPr>
        <p:spPr>
          <a:xfrm>
            <a:off x="4026766" y="2739282"/>
            <a:ext cx="274320" cy="27204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50" normalizeH="0" baseline="0" noProof="0" dirty="0">
              <a:ln>
                <a:noFill/>
              </a:ln>
              <a:solidFill>
                <a:srgbClr val="232F3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cxnSp>
        <p:nvCxnSpPr>
          <p:cNvPr id="59" name="Elbow Connector 58">
            <a:extLst>
              <a:ext uri="{FF2B5EF4-FFF2-40B4-BE49-F238E27FC236}">
                <a16:creationId xmlns:a16="http://schemas.microsoft.com/office/drawing/2014/main" id="{6543AB13-C6DF-25E0-E10A-25E85CA4A09F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4301086" y="2875304"/>
            <a:ext cx="448651" cy="194325"/>
          </a:xfrm>
          <a:prstGeom prst="bentConnector3">
            <a:avLst>
              <a:gd name="adj1" fmla="val 50000"/>
            </a:avLst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>
            <a:extLst>
              <a:ext uri="{FF2B5EF4-FFF2-40B4-BE49-F238E27FC236}">
                <a16:creationId xmlns:a16="http://schemas.microsoft.com/office/drawing/2014/main" id="{1A4EB227-48B4-9F33-B23F-7DB1447173C6}"/>
              </a:ext>
            </a:extLst>
          </p:cNvPr>
          <p:cNvCxnSpPr>
            <a:cxnSpLocks/>
            <a:endCxn id="63" idx="3"/>
          </p:cNvCxnSpPr>
          <p:nvPr/>
        </p:nvCxnSpPr>
        <p:spPr>
          <a:xfrm rot="10800000" flipV="1">
            <a:off x="4278001" y="3082950"/>
            <a:ext cx="463066" cy="99820"/>
          </a:xfrm>
          <a:prstGeom prst="bentConnector3">
            <a:avLst>
              <a:gd name="adj1" fmla="val 50000"/>
            </a:avLst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D63BD99-4CCE-297F-1E31-CEFA9B972049}"/>
              </a:ext>
            </a:extLst>
          </p:cNvPr>
          <p:cNvCxnSpPr>
            <a:cxnSpLocks/>
          </p:cNvCxnSpPr>
          <p:nvPr/>
        </p:nvCxnSpPr>
        <p:spPr>
          <a:xfrm>
            <a:off x="3762542" y="3149044"/>
            <a:ext cx="228600" cy="0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E4B50D2-2163-ED70-91C1-E41B758DA9DA}"/>
              </a:ext>
            </a:extLst>
          </p:cNvPr>
          <p:cNvCxnSpPr>
            <a:cxnSpLocks/>
          </p:cNvCxnSpPr>
          <p:nvPr/>
        </p:nvCxnSpPr>
        <p:spPr>
          <a:xfrm>
            <a:off x="3750165" y="2831083"/>
            <a:ext cx="286258" cy="19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: Rounded Corners 216">
            <a:extLst>
              <a:ext uri="{FF2B5EF4-FFF2-40B4-BE49-F238E27FC236}">
                <a16:creationId xmlns:a16="http://schemas.microsoft.com/office/drawing/2014/main" id="{D6FACB13-44EB-2CFD-F026-2345DD17AAFB}"/>
              </a:ext>
            </a:extLst>
          </p:cNvPr>
          <p:cNvSpPr/>
          <p:nvPr/>
        </p:nvSpPr>
        <p:spPr>
          <a:xfrm>
            <a:off x="4003681" y="3045610"/>
            <a:ext cx="274320" cy="27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50" normalizeH="0" baseline="0" noProof="0" dirty="0">
              <a:ln>
                <a:noFill/>
              </a:ln>
              <a:solidFill>
                <a:srgbClr val="232F3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1024" name="Rectangle: Rounded Corners 216">
            <a:extLst>
              <a:ext uri="{FF2B5EF4-FFF2-40B4-BE49-F238E27FC236}">
                <a16:creationId xmlns:a16="http://schemas.microsoft.com/office/drawing/2014/main" id="{CF37ADC8-76D0-2D09-1226-76A21AF33AC4}"/>
              </a:ext>
            </a:extLst>
          </p:cNvPr>
          <p:cNvSpPr/>
          <p:nvPr/>
        </p:nvSpPr>
        <p:spPr>
          <a:xfrm>
            <a:off x="4028814" y="4063304"/>
            <a:ext cx="274320" cy="27204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50" normalizeH="0" baseline="0" noProof="0" dirty="0">
              <a:ln>
                <a:noFill/>
              </a:ln>
              <a:solidFill>
                <a:srgbClr val="232F3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5E420761-286C-14FA-2D7F-9570BF523764}"/>
              </a:ext>
            </a:extLst>
          </p:cNvPr>
          <p:cNvCxnSpPr>
            <a:cxnSpLocks/>
          </p:cNvCxnSpPr>
          <p:nvPr/>
        </p:nvCxnSpPr>
        <p:spPr>
          <a:xfrm>
            <a:off x="3764590" y="4473066"/>
            <a:ext cx="228600" cy="0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3E910CE3-B7F5-614B-D6C5-63BABF7C6254}"/>
              </a:ext>
            </a:extLst>
          </p:cNvPr>
          <p:cNvCxnSpPr>
            <a:cxnSpLocks/>
          </p:cNvCxnSpPr>
          <p:nvPr/>
        </p:nvCxnSpPr>
        <p:spPr>
          <a:xfrm>
            <a:off x="3752213" y="4155105"/>
            <a:ext cx="286258" cy="19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Rectangle: Rounded Corners 216">
            <a:extLst>
              <a:ext uri="{FF2B5EF4-FFF2-40B4-BE49-F238E27FC236}">
                <a16:creationId xmlns:a16="http://schemas.microsoft.com/office/drawing/2014/main" id="{7147340E-65EB-C2FD-F539-680B849D4160}"/>
              </a:ext>
            </a:extLst>
          </p:cNvPr>
          <p:cNvSpPr/>
          <p:nvPr/>
        </p:nvSpPr>
        <p:spPr>
          <a:xfrm>
            <a:off x="4005729" y="4369633"/>
            <a:ext cx="274320" cy="2644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50" normalizeH="0" baseline="0" noProof="0" dirty="0">
              <a:ln>
                <a:noFill/>
              </a:ln>
              <a:solidFill>
                <a:srgbClr val="232F3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1033" name="Rectangle 1032">
            <a:extLst>
              <a:ext uri="{FF2B5EF4-FFF2-40B4-BE49-F238E27FC236}">
                <a16:creationId xmlns:a16="http://schemas.microsoft.com/office/drawing/2014/main" id="{B8D4E2BB-AA9D-BC94-1E49-AD959EA86389}"/>
              </a:ext>
            </a:extLst>
          </p:cNvPr>
          <p:cNvSpPr/>
          <p:nvPr/>
        </p:nvSpPr>
        <p:spPr>
          <a:xfrm>
            <a:off x="2888190" y="2420689"/>
            <a:ext cx="978525" cy="2292298"/>
          </a:xfrm>
          <a:prstGeom prst="rect">
            <a:avLst/>
          </a:prstGeom>
          <a:solidFill>
            <a:schemeClr val="bg2"/>
          </a:solidFill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tep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tep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tep n</a:t>
            </a:r>
          </a:p>
        </p:txBody>
      </p:sp>
      <p:cxnSp>
        <p:nvCxnSpPr>
          <p:cNvPr id="1038" name="Straight Arrow Connector 1037">
            <a:extLst>
              <a:ext uri="{FF2B5EF4-FFF2-40B4-BE49-F238E27FC236}">
                <a16:creationId xmlns:a16="http://schemas.microsoft.com/office/drawing/2014/main" id="{B7691AE6-07C8-B64F-255B-F7E10B3A61F1}"/>
              </a:ext>
            </a:extLst>
          </p:cNvPr>
          <p:cNvCxnSpPr>
            <a:cxnSpLocks/>
          </p:cNvCxnSpPr>
          <p:nvPr/>
        </p:nvCxnSpPr>
        <p:spPr>
          <a:xfrm>
            <a:off x="2621969" y="2765959"/>
            <a:ext cx="255680" cy="0"/>
          </a:xfrm>
          <a:prstGeom prst="straightConnector1">
            <a:avLst/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9" name="Straight Arrow Connector 1038">
            <a:extLst>
              <a:ext uri="{FF2B5EF4-FFF2-40B4-BE49-F238E27FC236}">
                <a16:creationId xmlns:a16="http://schemas.microsoft.com/office/drawing/2014/main" id="{F86FA518-BDB7-E7B6-3ECC-CC5036692248}"/>
              </a:ext>
            </a:extLst>
          </p:cNvPr>
          <p:cNvCxnSpPr>
            <a:cxnSpLocks/>
          </p:cNvCxnSpPr>
          <p:nvPr/>
        </p:nvCxnSpPr>
        <p:spPr>
          <a:xfrm flipH="1" flipV="1">
            <a:off x="2607200" y="4217871"/>
            <a:ext cx="251216" cy="6917"/>
          </a:xfrm>
          <a:prstGeom prst="straightConnector1">
            <a:avLst/>
          </a:prstGeom>
          <a:ln w="1905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CFB5620-ECCC-B45E-758A-8F934E3FA9E4}"/>
              </a:ext>
            </a:extLst>
          </p:cNvPr>
          <p:cNvSpPr/>
          <p:nvPr/>
        </p:nvSpPr>
        <p:spPr>
          <a:xfrm>
            <a:off x="4899714" y="3263303"/>
            <a:ext cx="2386166" cy="2946136"/>
          </a:xfrm>
          <a:prstGeom prst="roundRect">
            <a:avLst/>
          </a:prstGeom>
          <a:noFill/>
          <a:ln w="28575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pic>
        <p:nvPicPr>
          <p:cNvPr id="3080" name="Picture 8" descr="UniProt - Wikipedia">
            <a:extLst>
              <a:ext uri="{FF2B5EF4-FFF2-40B4-BE49-F238E27FC236}">
                <a16:creationId xmlns:a16="http://schemas.microsoft.com/office/drawing/2014/main" id="{97ABE85B-4DC0-E788-C704-04FA5FA36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6992" y="4669806"/>
            <a:ext cx="1329922" cy="606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Graphic 8" descr="Amazon Simple Storage Service (Amazon S3) service icon.">
            <a:extLst>
              <a:ext uri="{FF2B5EF4-FFF2-40B4-BE49-F238E27FC236}">
                <a16:creationId xmlns:a16="http://schemas.microsoft.com/office/drawing/2014/main" id="{3C21B6E9-2F2D-7BC5-1F0F-0EB4A8213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 bwMode="auto">
          <a:xfrm>
            <a:off x="9601845" y="4341252"/>
            <a:ext cx="484632" cy="48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2" name="TextBox 9">
            <a:extLst>
              <a:ext uri="{FF2B5EF4-FFF2-40B4-BE49-F238E27FC236}">
                <a16:creationId xmlns:a16="http://schemas.microsoft.com/office/drawing/2014/main" id="{3C37609C-7B07-1553-B0FE-FD22DDB54D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05005" y="4905456"/>
            <a:ext cx="22399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mazon S3</a:t>
            </a:r>
          </a:p>
        </p:txBody>
      </p:sp>
      <p:pic>
        <p:nvPicPr>
          <p:cNvPr id="1043" name="Graphic 23" descr="Amazon Redshift service icon.">
            <a:extLst>
              <a:ext uri="{FF2B5EF4-FFF2-40B4-BE49-F238E27FC236}">
                <a16:creationId xmlns:a16="http://schemas.microsoft.com/office/drawing/2014/main" id="{1D90E9FC-1AB4-A9CC-5835-ED0E308D53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 bwMode="auto">
          <a:xfrm>
            <a:off x="9601845" y="5342993"/>
            <a:ext cx="484632" cy="48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4" name="TextBox 34">
            <a:extLst>
              <a:ext uri="{FF2B5EF4-FFF2-40B4-BE49-F238E27FC236}">
                <a16:creationId xmlns:a16="http://schemas.microsoft.com/office/drawing/2014/main" id="{4800160F-FB25-4D27-8B6F-53212F950F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3016" y="5852851"/>
            <a:ext cx="226163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mazon Redshift</a:t>
            </a:r>
          </a:p>
        </p:txBody>
      </p:sp>
      <p:pic>
        <p:nvPicPr>
          <p:cNvPr id="1045" name="Graphic 1044" descr="Amazon DataZone service icon.">
            <a:extLst>
              <a:ext uri="{FF2B5EF4-FFF2-40B4-BE49-F238E27FC236}">
                <a16:creationId xmlns:a16="http://schemas.microsoft.com/office/drawing/2014/main" id="{2A04AF35-5AD3-CA42-17D0-59F8D31FC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 bwMode="auto">
          <a:xfrm>
            <a:off x="11039317" y="3419770"/>
            <a:ext cx="484632" cy="48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6" name="TextBox 34">
            <a:extLst>
              <a:ext uri="{FF2B5EF4-FFF2-40B4-BE49-F238E27FC236}">
                <a16:creationId xmlns:a16="http://schemas.microsoft.com/office/drawing/2014/main" id="{2463FE46-4BC7-3F64-ABF4-8AE54A3A61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52869" y="3942290"/>
            <a:ext cx="22575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mazon DataZone</a:t>
            </a:r>
          </a:p>
        </p:txBody>
      </p:sp>
      <p:pic>
        <p:nvPicPr>
          <p:cNvPr id="1047" name="Graphic 8" descr="AWS Clean Rooms service icon.">
            <a:extLst>
              <a:ext uri="{FF2B5EF4-FFF2-40B4-BE49-F238E27FC236}">
                <a16:creationId xmlns:a16="http://schemas.microsoft.com/office/drawing/2014/main" id="{3B5EF8EB-0421-8E59-BD33-CCB0584E5F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 bwMode="auto">
          <a:xfrm>
            <a:off x="9623190" y="3486203"/>
            <a:ext cx="484632" cy="48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8" name="TextBox 10">
            <a:extLst>
              <a:ext uri="{FF2B5EF4-FFF2-40B4-BE49-F238E27FC236}">
                <a16:creationId xmlns:a16="http://schemas.microsoft.com/office/drawing/2014/main" id="{28614DB5-A687-40CD-4518-B463886D1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1238" y="3983501"/>
            <a:ext cx="22685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AWS Clean Rooms</a:t>
            </a:r>
          </a:p>
        </p:txBody>
      </p:sp>
      <p:pic>
        <p:nvPicPr>
          <p:cNvPr id="1051" name="Picture 1050">
            <a:extLst>
              <a:ext uri="{FF2B5EF4-FFF2-40B4-BE49-F238E27FC236}">
                <a16:creationId xmlns:a16="http://schemas.microsoft.com/office/drawing/2014/main" id="{07FEB743-53BE-B94B-0921-D88C757999B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805423" y="4303089"/>
            <a:ext cx="638394" cy="638394"/>
          </a:xfrm>
          <a:prstGeom prst="rect">
            <a:avLst/>
          </a:prstGeom>
        </p:spPr>
      </p:pic>
      <p:pic>
        <p:nvPicPr>
          <p:cNvPr id="1052" name="Picture 1051">
            <a:extLst>
              <a:ext uri="{FF2B5EF4-FFF2-40B4-BE49-F238E27FC236}">
                <a16:creationId xmlns:a16="http://schemas.microsoft.com/office/drawing/2014/main" id="{AC482178-8027-1120-FD3F-DD50846599E7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253867" y="4373178"/>
            <a:ext cx="545538" cy="545538"/>
          </a:xfrm>
          <a:prstGeom prst="rect">
            <a:avLst/>
          </a:prstGeom>
        </p:spPr>
      </p:pic>
      <p:sp>
        <p:nvSpPr>
          <p:cNvPr id="1053" name="TextBox 34">
            <a:extLst>
              <a:ext uri="{FF2B5EF4-FFF2-40B4-BE49-F238E27FC236}">
                <a16:creationId xmlns:a16="http://schemas.microsoft.com/office/drawing/2014/main" id="{AB90B989-8095-30FE-B414-3E397CB25E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53281" y="4895673"/>
            <a:ext cx="22575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Lab instruments</a:t>
            </a:r>
          </a:p>
        </p:txBody>
      </p:sp>
      <p:pic>
        <p:nvPicPr>
          <p:cNvPr id="1054" name="Graphic 23">
            <a:extLst>
              <a:ext uri="{FF2B5EF4-FFF2-40B4-BE49-F238E27FC236}">
                <a16:creationId xmlns:a16="http://schemas.microsoft.com/office/drawing/2014/main" id="{7DC4C7D0-9F7A-A076-7842-36232FB29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9253" y="5231525"/>
            <a:ext cx="740599" cy="74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5" name="TextBox 34">
            <a:extLst>
              <a:ext uri="{FF2B5EF4-FFF2-40B4-BE49-F238E27FC236}">
                <a16:creationId xmlns:a16="http://schemas.microsoft.com/office/drawing/2014/main" id="{3848B998-B833-33D9-0473-EC54A118F9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01955" y="5901337"/>
            <a:ext cx="22575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LIMS/ELN</a:t>
            </a:r>
          </a:p>
        </p:txBody>
      </p:sp>
      <p:grpSp>
        <p:nvGrpSpPr>
          <p:cNvPr id="1035" name="Group 1034">
            <a:extLst>
              <a:ext uri="{FF2B5EF4-FFF2-40B4-BE49-F238E27FC236}">
                <a16:creationId xmlns:a16="http://schemas.microsoft.com/office/drawing/2014/main" id="{F764A8D2-D67D-B3F1-002D-332FD65A993B}"/>
              </a:ext>
            </a:extLst>
          </p:cNvPr>
          <p:cNvGrpSpPr/>
          <p:nvPr/>
        </p:nvGrpSpPr>
        <p:grpSpPr>
          <a:xfrm>
            <a:off x="9356072" y="1765623"/>
            <a:ext cx="1353846" cy="964718"/>
            <a:chOff x="5113070" y="4535906"/>
            <a:chExt cx="1353846" cy="964718"/>
          </a:xfrm>
        </p:grpSpPr>
        <p:pic>
          <p:nvPicPr>
            <p:cNvPr id="1056" name="Graphic 1055" descr="Model resource icon for the Amazon SageMaker service.">
              <a:extLst>
                <a:ext uri="{FF2B5EF4-FFF2-40B4-BE49-F238E27FC236}">
                  <a16:creationId xmlns:a16="http://schemas.microsoft.com/office/drawing/2014/main" id="{4EAC4B01-F3C4-5CD0-16AA-3807734B6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5565947" y="4535906"/>
              <a:ext cx="457200" cy="457200"/>
            </a:xfrm>
            <a:prstGeom prst="rect">
              <a:avLst/>
            </a:prstGeom>
          </p:spPr>
        </p:pic>
        <p:sp>
          <p:nvSpPr>
            <p:cNvPr id="1057" name="TextBox 20">
              <a:extLst>
                <a:ext uri="{FF2B5EF4-FFF2-40B4-BE49-F238E27FC236}">
                  <a16:creationId xmlns:a16="http://schemas.microsoft.com/office/drawing/2014/main" id="{8ABB09F2-218E-55D6-C2CA-B06ED2728C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13070" y="5038959"/>
              <a:ext cx="135384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Public &amp; Licensed Models</a:t>
              </a:r>
            </a:p>
          </p:txBody>
        </p:sp>
      </p:grpSp>
      <p:sp>
        <p:nvSpPr>
          <p:cNvPr id="1059" name="TextBox 1058">
            <a:extLst>
              <a:ext uri="{FF2B5EF4-FFF2-40B4-BE49-F238E27FC236}">
                <a16:creationId xmlns:a16="http://schemas.microsoft.com/office/drawing/2014/main" id="{B7D91875-B8CE-8B02-CDB7-2A7A8913BFD2}"/>
              </a:ext>
            </a:extLst>
          </p:cNvPr>
          <p:cNvSpPr txBox="1"/>
          <p:nvPr/>
        </p:nvSpPr>
        <p:spPr>
          <a:xfrm>
            <a:off x="5366639" y="3078637"/>
            <a:ext cx="1412246" cy="369332"/>
          </a:xfrm>
          <a:prstGeom prst="rect">
            <a:avLst/>
          </a:prstGeom>
          <a:solidFill>
            <a:srgbClr val="222E3E"/>
          </a:solidFill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External Data</a:t>
            </a:r>
          </a:p>
        </p:txBody>
      </p:sp>
      <p:pic>
        <p:nvPicPr>
          <p:cNvPr id="2" name="Picture 2" descr="cBioPortal for Cancer Genomics::Datasets">
            <a:extLst>
              <a:ext uri="{FF2B5EF4-FFF2-40B4-BE49-F238E27FC236}">
                <a16:creationId xmlns:a16="http://schemas.microsoft.com/office/drawing/2014/main" id="{86C79CEB-3B20-697F-8456-0E6062A2C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408" y="4145786"/>
            <a:ext cx="1862900" cy="42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7" descr="Developer Tools standard category icon.">
            <a:extLst>
              <a:ext uri="{FF2B5EF4-FFF2-40B4-BE49-F238E27FC236}">
                <a16:creationId xmlns:a16="http://schemas.microsoft.com/office/drawing/2014/main" id="{A2BF5A01-DD39-ECD6-9772-B0F40564E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 bwMode="auto">
          <a:xfrm>
            <a:off x="6212802" y="1888439"/>
            <a:ext cx="484632" cy="48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34">
            <a:extLst>
              <a:ext uri="{FF2B5EF4-FFF2-40B4-BE49-F238E27FC236}">
                <a16:creationId xmlns:a16="http://schemas.microsoft.com/office/drawing/2014/main" id="{7F87BC0E-A786-E789-6672-D0715A331D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6354" y="2400939"/>
            <a:ext cx="22575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mazon Ember" panose="020B0603020204020204" pitchFamily="34" charset="0"/>
                <a:cs typeface="Arial" panose="020B0604020202020204" pitchFamily="34" charset="0"/>
              </a:rPr>
              <a:t>Build new tool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23ED1D6-143E-AB90-C67F-EFCFFBFC97DC}"/>
              </a:ext>
            </a:extLst>
          </p:cNvPr>
          <p:cNvGrpSpPr/>
          <p:nvPr/>
        </p:nvGrpSpPr>
        <p:grpSpPr>
          <a:xfrm>
            <a:off x="7624086" y="1847726"/>
            <a:ext cx="1734749" cy="779779"/>
            <a:chOff x="4907694" y="3053197"/>
            <a:chExt cx="1734749" cy="779779"/>
          </a:xfrm>
        </p:grpSpPr>
        <p:sp>
          <p:nvSpPr>
            <p:cNvPr id="1058" name="TextBox 20">
              <a:extLst>
                <a:ext uri="{FF2B5EF4-FFF2-40B4-BE49-F238E27FC236}">
                  <a16:creationId xmlns:a16="http://schemas.microsoft.com/office/drawing/2014/main" id="{938E1A1A-8A80-8C24-96C7-9FBE3FD842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12755" y="3053197"/>
              <a:ext cx="112968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Co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Comm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Fine tuned</a:t>
              </a:r>
            </a:p>
          </p:txBody>
        </p:sp>
        <p:pic>
          <p:nvPicPr>
            <p:cNvPr id="11" name="Graphic 10" descr="Model resource icon for the Amazon SageMaker service.">
              <a:extLst>
                <a:ext uri="{FF2B5EF4-FFF2-40B4-BE49-F238E27FC236}">
                  <a16:creationId xmlns:a16="http://schemas.microsoft.com/office/drawing/2014/main" id="{BF17AC2D-F156-9839-90E6-A0A9FC997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995606" y="3114890"/>
              <a:ext cx="469289" cy="46928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097E1FB-A69D-CFDA-6A3D-0A0A0CEF45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07694" y="3555977"/>
              <a:ext cx="112968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Amazon Ember" panose="020B0603020204020204" pitchFamily="34" charset="0"/>
                  <a:cs typeface="Arial" panose="020B0604020202020204" pitchFamily="34" charset="0"/>
                </a:rPr>
                <a:t>Models</a:t>
              </a:r>
            </a:p>
          </p:txBody>
        </p:sp>
      </p:grp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E5A52CE-553B-876C-5496-7EEAED6D8E09}"/>
              </a:ext>
            </a:extLst>
          </p:cNvPr>
          <p:cNvSpPr/>
          <p:nvPr/>
        </p:nvSpPr>
        <p:spPr>
          <a:xfrm>
            <a:off x="5698435" y="1670396"/>
            <a:ext cx="5504378" cy="1149637"/>
          </a:xfrm>
          <a:prstGeom prst="roundRect">
            <a:avLst/>
          </a:prstGeom>
          <a:noFill/>
          <a:ln w="28575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7ADF9C-13C6-B28F-95D1-803DA3C51624}"/>
              </a:ext>
            </a:extLst>
          </p:cNvPr>
          <p:cNvSpPr txBox="1"/>
          <p:nvPr/>
        </p:nvSpPr>
        <p:spPr>
          <a:xfrm>
            <a:off x="7737756" y="1481784"/>
            <a:ext cx="1021841" cy="369332"/>
          </a:xfrm>
          <a:prstGeom prst="rect">
            <a:avLst/>
          </a:prstGeom>
          <a:solidFill>
            <a:srgbClr val="222E3E"/>
          </a:solidFill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Function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3FD5CDA-2471-6313-9782-8B8C8195F2D3}"/>
              </a:ext>
            </a:extLst>
          </p:cNvPr>
          <p:cNvSpPr/>
          <p:nvPr/>
        </p:nvSpPr>
        <p:spPr>
          <a:xfrm>
            <a:off x="4770577" y="1256175"/>
            <a:ext cx="7321383" cy="5356178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F4FEDE39-1766-792D-358C-20D2F15020B4}"/>
              </a:ext>
            </a:extLst>
          </p:cNvPr>
          <p:cNvSpPr/>
          <p:nvPr/>
        </p:nvSpPr>
        <p:spPr>
          <a:xfrm>
            <a:off x="7470783" y="3212631"/>
            <a:ext cx="4515321" cy="2996807"/>
          </a:xfrm>
          <a:prstGeom prst="roundRect">
            <a:avLst/>
          </a:prstGeom>
          <a:noFill/>
          <a:ln w="28575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8AA07D86-D74B-235E-DD20-546D97AFECB5}"/>
              </a:ext>
            </a:extLst>
          </p:cNvPr>
          <p:cNvSpPr txBox="1"/>
          <p:nvPr/>
        </p:nvSpPr>
        <p:spPr>
          <a:xfrm>
            <a:off x="9256332" y="3025952"/>
            <a:ext cx="1372171" cy="369332"/>
          </a:xfrm>
          <a:prstGeom prst="rect">
            <a:avLst/>
          </a:prstGeom>
          <a:solidFill>
            <a:schemeClr val="bg2"/>
          </a:solidFill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Internal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245B20-0F9A-8BE9-87E1-1EDD4899987D}"/>
              </a:ext>
            </a:extLst>
          </p:cNvPr>
          <p:cNvSpPr txBox="1"/>
          <p:nvPr/>
        </p:nvSpPr>
        <p:spPr>
          <a:xfrm>
            <a:off x="374820" y="209954"/>
            <a:ext cx="7873856" cy="1120621"/>
          </a:xfrm>
          <a:prstGeom prst="rect">
            <a:avLst/>
          </a:prstGeom>
          <a:solidFill>
            <a:schemeClr val="bg2"/>
          </a:solidFill>
        </p:spPr>
        <p:txBody>
          <a:bodyPr vert="horz" lIns="0" tIns="45720" rIns="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000" b="1" spc="-100" baseline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/>
                <a:ea typeface="+mj-ea"/>
                <a:cs typeface="+mj-cs"/>
              </a:rPr>
              <a:t>Agentic Framework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0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mazon Ember Mono" panose="020B0509020204020204" pitchFamily="49" charset="0"/>
                <a:ea typeface="Amazon Ember Mono" panose="020B0509020204020204" pitchFamily="49" charset="0"/>
                <a:cs typeface="Amazon Ember Mono" panose="020B0509020204020204" pitchFamily="49" charset="0"/>
              </a:rPr>
              <a:t>API driven for extensible data, tools, &amp; models</a:t>
            </a:r>
          </a:p>
        </p:txBody>
      </p:sp>
    </p:spTree>
    <p:extLst>
      <p:ext uri="{BB962C8B-B14F-4D97-AF65-F5344CB8AC3E}">
        <p14:creationId xmlns:p14="http://schemas.microsoft.com/office/powerpoint/2010/main" val="207096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57BAC-5284-A420-7AB2-C05BF45DA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D8A95A-EE06-B8C5-D0D7-CFA498BF2AE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289675"/>
            <a:ext cx="2743200" cy="365125"/>
          </a:xfrm>
        </p:spPr>
        <p:txBody>
          <a:bodyPr/>
          <a:lstStyle/>
          <a:p>
            <a:fld id="{EB4B8DE2-A4E8-46E4-8BBF-D75455EFF32C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C0FA7F-FDC2-0385-913F-DFBF66D1FD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5300" y="0"/>
            <a:ext cx="2806700" cy="81209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3AC2459-5206-4C8D-C95A-0C71F0EBF780}"/>
              </a:ext>
            </a:extLst>
          </p:cNvPr>
          <p:cNvSpPr txBox="1"/>
          <p:nvPr/>
        </p:nvSpPr>
        <p:spPr>
          <a:xfrm>
            <a:off x="4669536" y="6211669"/>
            <a:ext cx="5032756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u="sng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y it now: </a:t>
            </a:r>
            <a:r>
              <a:rPr lang="en-US" dirty="0">
                <a:solidFill>
                  <a:srgbClr val="FF28E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ova.amazon.com/</a:t>
            </a:r>
            <a:endParaRPr lang="en-US" dirty="0"/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26BDFF-EFAD-371C-93E5-EF6959DFC4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960" y="2208276"/>
            <a:ext cx="4340352" cy="24414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F9AEE0-BB11-6FB9-34D2-C6AE9F1B4B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4688" y="2208276"/>
            <a:ext cx="4407406" cy="2479166"/>
          </a:xfrm>
          <a:prstGeom prst="rect">
            <a:avLst/>
          </a:prstGeom>
        </p:spPr>
      </p:pic>
      <p:sp>
        <p:nvSpPr>
          <p:cNvPr id="12" name="Right Arrow 11">
            <a:extLst>
              <a:ext uri="{FF2B5EF4-FFF2-40B4-BE49-F238E27FC236}">
                <a16:creationId xmlns:a16="http://schemas.microsoft.com/office/drawing/2014/main" id="{3AD06DB0-BD8C-5DAF-3B62-A7678261BCC8}"/>
              </a:ext>
            </a:extLst>
          </p:cNvPr>
          <p:cNvSpPr/>
          <p:nvPr/>
        </p:nvSpPr>
        <p:spPr>
          <a:xfrm>
            <a:off x="5348224" y="3243072"/>
            <a:ext cx="987552" cy="585216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46613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itle 1">
            <a:extLst>
              <a:ext uri="{FF2B5EF4-FFF2-40B4-BE49-F238E27FC236}">
                <a16:creationId xmlns:a16="http://schemas.microsoft.com/office/drawing/2014/main" id="{A71B1944-7A32-0E4E-A04E-E45EEAE04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23" y="370229"/>
            <a:ext cx="11474554" cy="540000"/>
          </a:xfrm>
        </p:spPr>
        <p:txBody>
          <a:bodyPr>
            <a:noAutofit/>
          </a:bodyPr>
          <a:lstStyle/>
          <a:p>
            <a:r>
              <a:rPr lang="en-US" dirty="0">
                <a:ea typeface="Amazon Ember Heavy" panose="020B0603020204020204" pitchFamily="34" charset="0"/>
                <a:cs typeface="Amazon Ember Heavy" panose="020B0603020204020204" pitchFamily="34" charset="0"/>
              </a:rPr>
              <a:t>Drug Discovery </a:t>
            </a:r>
            <a:r>
              <a:rPr lang="en-US" b="0" dirty="0">
                <a:solidFill>
                  <a:srgbClr val="FF9900"/>
                </a:solidFill>
                <a:ea typeface="Amazon Ember Thin" panose="020B0303020204020204" pitchFamily="34" charset="0"/>
                <a:cs typeface="Amazon Ember Thin" panose="020B0303020204020204" pitchFamily="34" charset="0"/>
              </a:rPr>
              <a:t>|</a:t>
            </a:r>
            <a:r>
              <a:rPr lang="en-US" dirty="0"/>
              <a:t> </a:t>
            </a:r>
            <a:r>
              <a:rPr lang="en-US" b="0" dirty="0">
                <a:ea typeface="Amazon Ember Light" panose="020B0403020204020204" pitchFamily="34" charset="0"/>
                <a:cs typeface="Amazon Ember Light" panose="020B0403020204020204" pitchFamily="34" charset="0"/>
              </a:rPr>
              <a:t>Use Cases, Workloads, Outcomes</a:t>
            </a:r>
            <a:endParaRPr lang="en-US" dirty="0"/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A845DE1B-57B3-0140-8F91-E17DC124C04F}"/>
              </a:ext>
            </a:extLst>
          </p:cNvPr>
          <p:cNvSpPr/>
          <p:nvPr/>
        </p:nvSpPr>
        <p:spPr>
          <a:xfrm>
            <a:off x="472427" y="1237260"/>
            <a:ext cx="16954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15BE9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Connected Lab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7048539A-09F6-3043-9ABC-205D2A26AAE6}"/>
              </a:ext>
            </a:extLst>
          </p:cNvPr>
          <p:cNvSpPr/>
          <p:nvPr/>
        </p:nvSpPr>
        <p:spPr>
          <a:xfrm>
            <a:off x="2395643" y="1237261"/>
            <a:ext cx="168318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Genomics &amp;</a:t>
            </a:r>
            <a:r>
              <a:rPr lang="en-US" sz="2000" b="1" dirty="0"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 </a:t>
            </a:r>
          </a:p>
          <a:p>
            <a:pPr algn="ctr"/>
            <a:r>
              <a:rPr lang="en-US" sz="2000" b="1" dirty="0">
                <a:solidFill>
                  <a:srgbClr val="FFC000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Precision Medicine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DFF9B044-3228-A541-9891-8008CCE9D7CE}"/>
              </a:ext>
            </a:extLst>
          </p:cNvPr>
          <p:cNvSpPr/>
          <p:nvPr/>
        </p:nvSpPr>
        <p:spPr>
          <a:xfrm>
            <a:off x="4285829" y="1237260"/>
            <a:ext cx="16992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EE86ED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Structure Based Drug Discovery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0110E248-6B69-0941-B72C-9F13E9F104F2}"/>
              </a:ext>
            </a:extLst>
          </p:cNvPr>
          <p:cNvSpPr/>
          <p:nvPr/>
        </p:nvSpPr>
        <p:spPr>
          <a:xfrm>
            <a:off x="8093314" y="1237261"/>
            <a:ext cx="17056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FEE385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Generative Biology and Chemistry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54BF3F45-5186-2044-ACFF-946F82787BDC}"/>
              </a:ext>
            </a:extLst>
          </p:cNvPr>
          <p:cNvSpPr/>
          <p:nvPr/>
        </p:nvSpPr>
        <p:spPr>
          <a:xfrm>
            <a:off x="10010580" y="1237261"/>
            <a:ext cx="16793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Quantum Computing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418ED262-1EAC-7441-BF87-5D2266FF93F1}"/>
              </a:ext>
            </a:extLst>
          </p:cNvPr>
          <p:cNvSpPr/>
          <p:nvPr/>
        </p:nvSpPr>
        <p:spPr>
          <a:xfrm>
            <a:off x="6193357" y="1237261"/>
            <a:ext cx="167936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F56B51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Image Analysis &amp; Insights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540444E2-15A3-AB4A-A64D-D5284534B1E8}"/>
              </a:ext>
            </a:extLst>
          </p:cNvPr>
          <p:cNvSpPr/>
          <p:nvPr/>
        </p:nvSpPr>
        <p:spPr>
          <a:xfrm>
            <a:off x="472427" y="3088438"/>
            <a:ext cx="16954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Lab Data Transfer and Storage 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97FEA8C3-2C11-3841-B0B2-350ADC07B668}"/>
              </a:ext>
            </a:extLst>
          </p:cNvPr>
          <p:cNvCxnSpPr>
            <a:cxnSpLocks/>
          </p:cNvCxnSpPr>
          <p:nvPr/>
        </p:nvCxnSpPr>
        <p:spPr>
          <a:xfrm>
            <a:off x="2273718" y="1237262"/>
            <a:ext cx="0" cy="3591219"/>
          </a:xfrm>
          <a:prstGeom prst="line">
            <a:avLst/>
          </a:prstGeom>
          <a:ln w="6350">
            <a:solidFill>
              <a:schemeClr val="tx1">
                <a:alpha val="3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0" name="Rectangle 339">
            <a:extLst>
              <a:ext uri="{FF2B5EF4-FFF2-40B4-BE49-F238E27FC236}">
                <a16:creationId xmlns:a16="http://schemas.microsoft.com/office/drawing/2014/main" id="{1C06B54F-162B-564B-ABDC-4B4CDC378FC6}"/>
              </a:ext>
            </a:extLst>
          </p:cNvPr>
          <p:cNvSpPr/>
          <p:nvPr/>
        </p:nvSpPr>
        <p:spPr>
          <a:xfrm>
            <a:off x="2382506" y="3715133"/>
            <a:ext cx="1695450" cy="1115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30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3"/>
              </a:rPr>
              <a:t>AstraZeneca</a:t>
            </a:r>
            <a:r>
              <a:rPr lang="en-US" sz="830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‘s Genomics Data Processing Solution Runs 51 Billion Tests in 1 Day on AWS using AWS EC2 (FPGA) instances, 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WS Lambda and AWS Batch. 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4"/>
              </a:rPr>
              <a:t>Roche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uses AWS HealthOmics to 80% reduction</a:t>
            </a:r>
          </a:p>
          <a:p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in analysis time. </a:t>
            </a:r>
            <a:endParaRPr lang="en-US" sz="833" dirty="0">
              <a:solidFill>
                <a:srgbClr val="FFFFFF"/>
              </a:solidFill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D7AA56C4-EF12-1A4E-957D-ED5ADE49AC01}"/>
              </a:ext>
            </a:extLst>
          </p:cNvPr>
          <p:cNvSpPr/>
          <p:nvPr/>
        </p:nvSpPr>
        <p:spPr>
          <a:xfrm>
            <a:off x="2368536" y="3136675"/>
            <a:ext cx="16954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Production Genomics Pipeline at Scale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35F805BA-4D32-9546-9EF0-454EE39356C4}"/>
              </a:ext>
            </a:extLst>
          </p:cNvPr>
          <p:cNvSpPr/>
          <p:nvPr/>
        </p:nvSpPr>
        <p:spPr>
          <a:xfrm>
            <a:off x="4293853" y="3675177"/>
            <a:ext cx="1695450" cy="989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33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 pharma customer deploying </a:t>
            </a:r>
            <a:r>
              <a:rPr lang="en-US" sz="833" u="sng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WS-optimized code for a 1M vCPU virtual screening run in the cloud</a:t>
            </a:r>
            <a:r>
              <a:rPr lang="en-US" sz="833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against a 1.4B molecule library reduced run time to &lt;24 hours and significantly lowered costs from $350K to $35K.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89D7AD01-D351-F04E-8877-42EAC9CC115E}"/>
              </a:ext>
            </a:extLst>
          </p:cNvPr>
          <p:cNvSpPr/>
          <p:nvPr/>
        </p:nvSpPr>
        <p:spPr>
          <a:xfrm>
            <a:off x="4303611" y="3152857"/>
            <a:ext cx="16954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10x cost reduction from $350K to $35K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D110308F-66FB-D14D-B481-0009D23A4836}"/>
              </a:ext>
            </a:extLst>
          </p:cNvPr>
          <p:cNvSpPr/>
          <p:nvPr/>
        </p:nvSpPr>
        <p:spPr>
          <a:xfrm>
            <a:off x="8089908" y="3675177"/>
            <a:ext cx="1695450" cy="1245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5"/>
              </a:rPr>
              <a:t>A-Alpha Bio </a:t>
            </a:r>
            <a:r>
              <a:rPr 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Boosts the Performance of Protein-Protein Interaction Prediction Using NVIDIA BioNeMo on AWS. </a:t>
            </a:r>
            <a:r>
              <a:rPr 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6"/>
              </a:rPr>
              <a:t>Evolutionary Scale</a:t>
            </a:r>
            <a:r>
              <a:rPr 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, a frontier AI research lab for biology, launched ESM3 - a milestone AI model capable of generating novel proteins. 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C57DF1B9-D825-4D40-B11C-C6C99CB4A4F0}"/>
              </a:ext>
            </a:extLst>
          </p:cNvPr>
          <p:cNvSpPr/>
          <p:nvPr/>
        </p:nvSpPr>
        <p:spPr>
          <a:xfrm>
            <a:off x="8027256" y="3226434"/>
            <a:ext cx="1766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Bio Foundational Model training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A598D553-0CCF-AE4D-8C54-D2D9B458A5A2}"/>
              </a:ext>
            </a:extLst>
          </p:cNvPr>
          <p:cNvSpPr/>
          <p:nvPr/>
        </p:nvSpPr>
        <p:spPr>
          <a:xfrm>
            <a:off x="9992361" y="3675178"/>
            <a:ext cx="1695450" cy="4768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33" dirty="0"/>
              <a:t>Design and evaluate molecules and inform wet lab experiments</a:t>
            </a:r>
            <a:r>
              <a:rPr 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.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E0CC0647-4B5C-4A4B-BE09-9702BE22288A}"/>
              </a:ext>
            </a:extLst>
          </p:cNvPr>
          <p:cNvSpPr/>
          <p:nvPr/>
        </p:nvSpPr>
        <p:spPr>
          <a:xfrm>
            <a:off x="9992361" y="3241583"/>
            <a:ext cx="16954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Increase speed and accuracy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E9579476-283C-6545-AA12-4AEC255154BE}"/>
              </a:ext>
            </a:extLst>
          </p:cNvPr>
          <p:cNvSpPr/>
          <p:nvPr/>
        </p:nvSpPr>
        <p:spPr>
          <a:xfrm>
            <a:off x="6175138" y="3675177"/>
            <a:ext cx="1695450" cy="989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33" dirty="0">
                <a:solidFill>
                  <a:prstClr val="white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7"/>
              </a:rPr>
              <a:t>Vertex</a:t>
            </a:r>
            <a:r>
              <a:rPr lang="en-US" sz="833" dirty="0">
                <a:solidFill>
                  <a:prstClr val="white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Pharmaceuticals Reduces Costs of Cryo-EM Data Storage and Processing by 50% Using AWS. </a:t>
            </a:r>
            <a:r>
              <a:rPr lang="en-US" sz="833" dirty="0">
                <a:solidFill>
                  <a:prstClr val="white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8"/>
              </a:rPr>
              <a:t>Lilly</a:t>
            </a:r>
            <a:r>
              <a:rPr lang="en-US" sz="833" dirty="0">
                <a:solidFill>
                  <a:prstClr val="white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uses Amazon FSx Luster and AWS Parallel Cluster for high throughput data analysis.</a:t>
            </a:r>
            <a:endParaRPr lang="en-US" sz="833" dirty="0"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94611DB8-DA12-A84A-A394-F7673CDAEE19}"/>
              </a:ext>
            </a:extLst>
          </p:cNvPr>
          <p:cNvSpPr/>
          <p:nvPr/>
        </p:nvSpPr>
        <p:spPr>
          <a:xfrm>
            <a:off x="6221310" y="3134102"/>
            <a:ext cx="1695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2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ryo-EM imaging analysis using Parallel Cluster </a:t>
            </a:r>
            <a:endParaRPr lang="en-US" sz="12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ED6A766A-E61F-654F-9383-1FF86392E0E8}"/>
              </a:ext>
            </a:extLst>
          </p:cNvPr>
          <p:cNvCxnSpPr>
            <a:cxnSpLocks/>
          </p:cNvCxnSpPr>
          <p:nvPr/>
        </p:nvCxnSpPr>
        <p:spPr>
          <a:xfrm>
            <a:off x="4183798" y="1237262"/>
            <a:ext cx="0" cy="3591219"/>
          </a:xfrm>
          <a:prstGeom prst="line">
            <a:avLst/>
          </a:prstGeom>
          <a:ln w="6350">
            <a:solidFill>
              <a:schemeClr val="tx1">
                <a:alpha val="3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8F36C7D5-EE8C-5F4C-A139-B09C32E945E0}"/>
              </a:ext>
            </a:extLst>
          </p:cNvPr>
          <p:cNvCxnSpPr>
            <a:cxnSpLocks/>
          </p:cNvCxnSpPr>
          <p:nvPr/>
        </p:nvCxnSpPr>
        <p:spPr>
          <a:xfrm>
            <a:off x="6088380" y="1237262"/>
            <a:ext cx="0" cy="3591219"/>
          </a:xfrm>
          <a:prstGeom prst="line">
            <a:avLst/>
          </a:prstGeom>
          <a:ln w="6350">
            <a:solidFill>
              <a:schemeClr val="tx1">
                <a:alpha val="3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0529DDDA-287D-2747-AAC3-1B38E03A8D00}"/>
              </a:ext>
            </a:extLst>
          </p:cNvPr>
          <p:cNvCxnSpPr>
            <a:cxnSpLocks/>
          </p:cNvCxnSpPr>
          <p:nvPr/>
        </p:nvCxnSpPr>
        <p:spPr>
          <a:xfrm>
            <a:off x="7983220" y="1237262"/>
            <a:ext cx="0" cy="3591219"/>
          </a:xfrm>
          <a:prstGeom prst="line">
            <a:avLst/>
          </a:prstGeom>
          <a:ln w="6350">
            <a:solidFill>
              <a:schemeClr val="tx1">
                <a:alpha val="3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338B01FB-AB1D-DE4A-A7F8-49375D1CAF28}"/>
              </a:ext>
            </a:extLst>
          </p:cNvPr>
          <p:cNvCxnSpPr>
            <a:cxnSpLocks/>
          </p:cNvCxnSpPr>
          <p:nvPr/>
        </p:nvCxnSpPr>
        <p:spPr>
          <a:xfrm>
            <a:off x="9900920" y="1237262"/>
            <a:ext cx="0" cy="3591219"/>
          </a:xfrm>
          <a:prstGeom prst="line">
            <a:avLst/>
          </a:prstGeom>
          <a:ln w="6350">
            <a:solidFill>
              <a:schemeClr val="tx1">
                <a:alpha val="3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4" name="Rectangle 353">
            <a:extLst>
              <a:ext uri="{FF2B5EF4-FFF2-40B4-BE49-F238E27FC236}">
                <a16:creationId xmlns:a16="http://schemas.microsoft.com/office/drawing/2014/main" id="{57195775-35FE-AA40-B61A-8F2BC594A6F3}"/>
              </a:ext>
            </a:extLst>
          </p:cNvPr>
          <p:cNvSpPr/>
          <p:nvPr/>
        </p:nvSpPr>
        <p:spPr>
          <a:xfrm>
            <a:off x="594361" y="5193678"/>
            <a:ext cx="11123077" cy="788897"/>
          </a:xfrm>
          <a:prstGeom prst="rect">
            <a:avLst/>
          </a:prstGeom>
          <a:noFill/>
          <a:ln w="6350">
            <a:solidFill>
              <a:schemeClr val="tx1">
                <a:alpha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/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61D5060D-7C6D-2D4D-A198-C2FE834586B8}"/>
              </a:ext>
            </a:extLst>
          </p:cNvPr>
          <p:cNvSpPr/>
          <p:nvPr/>
        </p:nvSpPr>
        <p:spPr>
          <a:xfrm>
            <a:off x="5471160" y="5026223"/>
            <a:ext cx="1234440" cy="28212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/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2DE76816-A9C6-0840-8B64-D42413F3EB6F}"/>
              </a:ext>
            </a:extLst>
          </p:cNvPr>
          <p:cNvSpPr/>
          <p:nvPr/>
        </p:nvSpPr>
        <p:spPr>
          <a:xfrm>
            <a:off x="5245100" y="5052614"/>
            <a:ext cx="1701801" cy="2974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333" b="1" dirty="0">
                <a:solidFill>
                  <a:srgbClr val="FF9900"/>
                </a:solidFill>
                <a:latin typeface="Amazon Ember Thin" panose="020B0303020204020204" pitchFamily="34" charset="0"/>
                <a:ea typeface="Amazon Ember Thin" panose="020B0303020204020204" pitchFamily="34" charset="0"/>
                <a:cs typeface="Amazon Ember Thin" panose="020B0303020204020204" pitchFamily="34" charset="0"/>
              </a:rPr>
              <a:t>End to End R&amp;D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7DC37CBC-493D-364F-B98B-CE71282AD41B}"/>
              </a:ext>
            </a:extLst>
          </p:cNvPr>
          <p:cNvSpPr/>
          <p:nvPr/>
        </p:nvSpPr>
        <p:spPr>
          <a:xfrm>
            <a:off x="4575902" y="5347567"/>
            <a:ext cx="67394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Moderna delivered the first clinical batch of its COVID-19 vaccine only 42 days after the sequence of the virus was released with </a:t>
            </a:r>
            <a:r>
              <a:rPr lang="en-US" sz="1400" u="sng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AWS as their preferred cloud provider</a:t>
            </a:r>
            <a:r>
              <a:rPr lang="en-US" sz="1400" dirty="0">
                <a:solidFill>
                  <a:srgbClr val="FFFFFF"/>
                </a:solidFill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.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21F43302-86E3-EF42-99C8-EDAFCF6F177E}"/>
              </a:ext>
            </a:extLst>
          </p:cNvPr>
          <p:cNvSpPr/>
          <p:nvPr/>
        </p:nvSpPr>
        <p:spPr>
          <a:xfrm>
            <a:off x="1841073" y="5321854"/>
            <a:ext cx="25247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6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42 days from sequence to clinical batch</a:t>
            </a:r>
            <a:endParaRPr lang="en-US" sz="1600" dirty="0">
              <a:solidFill>
                <a:srgbClr val="FFFFFF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pic>
        <p:nvPicPr>
          <p:cNvPr id="359" name="Picture 358">
            <a:extLst>
              <a:ext uri="{FF2B5EF4-FFF2-40B4-BE49-F238E27FC236}">
                <a16:creationId xmlns:a16="http://schemas.microsoft.com/office/drawing/2014/main" id="{A39BF8DE-1722-D043-8127-CD054DC44B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3838" y="2192361"/>
            <a:ext cx="868357" cy="872699"/>
          </a:xfrm>
          <a:prstGeom prst="rect">
            <a:avLst/>
          </a:prstGeom>
        </p:spPr>
      </p:pic>
      <p:pic>
        <p:nvPicPr>
          <p:cNvPr id="360" name="Picture 359">
            <a:extLst>
              <a:ext uri="{FF2B5EF4-FFF2-40B4-BE49-F238E27FC236}">
                <a16:creationId xmlns:a16="http://schemas.microsoft.com/office/drawing/2014/main" id="{B1ED4C10-EA6B-C946-943C-C46A59C52E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92918" y="2139573"/>
            <a:ext cx="880813" cy="885218"/>
          </a:xfrm>
          <a:prstGeom prst="rect">
            <a:avLst/>
          </a:prstGeom>
        </p:spPr>
      </p:pic>
      <p:pic>
        <p:nvPicPr>
          <p:cNvPr id="361" name="Picture 360">
            <a:extLst>
              <a:ext uri="{FF2B5EF4-FFF2-40B4-BE49-F238E27FC236}">
                <a16:creationId xmlns:a16="http://schemas.microsoft.com/office/drawing/2014/main" id="{9652A7BB-B405-244D-A99D-1A31E73B02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9484" y="5204822"/>
            <a:ext cx="720183" cy="723784"/>
          </a:xfrm>
          <a:prstGeom prst="rect">
            <a:avLst/>
          </a:prstGeom>
        </p:spPr>
      </p:pic>
      <p:pic>
        <p:nvPicPr>
          <p:cNvPr id="362" name="Picture 361">
            <a:extLst>
              <a:ext uri="{FF2B5EF4-FFF2-40B4-BE49-F238E27FC236}">
                <a16:creationId xmlns:a16="http://schemas.microsoft.com/office/drawing/2014/main" id="{CA1F51B8-1F29-EB44-A268-203CCBA5894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81114" y="2145514"/>
            <a:ext cx="907968" cy="912508"/>
          </a:xfrm>
          <a:prstGeom prst="rect">
            <a:avLst/>
          </a:prstGeom>
        </p:spPr>
      </p:pic>
      <p:pic>
        <p:nvPicPr>
          <p:cNvPr id="363" name="Graphic 362">
            <a:extLst>
              <a:ext uri="{FF2B5EF4-FFF2-40B4-BE49-F238E27FC236}">
                <a16:creationId xmlns:a16="http://schemas.microsoft.com/office/drawing/2014/main" id="{4C090602-4F9A-3A4F-8C0D-EBC3F7C796A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47656" y="2143226"/>
            <a:ext cx="992655" cy="804855"/>
          </a:xfrm>
          <a:prstGeom prst="rect">
            <a:avLst/>
          </a:prstGeom>
        </p:spPr>
      </p:pic>
      <p:pic>
        <p:nvPicPr>
          <p:cNvPr id="364" name="Picture 363">
            <a:extLst>
              <a:ext uri="{FF2B5EF4-FFF2-40B4-BE49-F238E27FC236}">
                <a16:creationId xmlns:a16="http://schemas.microsoft.com/office/drawing/2014/main" id="{7892063B-7870-8D44-9473-81088333191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476994" y="2255718"/>
            <a:ext cx="742271" cy="745983"/>
          </a:xfrm>
          <a:prstGeom prst="rect">
            <a:avLst/>
          </a:prstGeom>
        </p:spPr>
      </p:pic>
      <p:pic>
        <p:nvPicPr>
          <p:cNvPr id="365" name="Graphic 364">
            <a:extLst>
              <a:ext uri="{FF2B5EF4-FFF2-40B4-BE49-F238E27FC236}">
                <a16:creationId xmlns:a16="http://schemas.microsoft.com/office/drawing/2014/main" id="{93A696C8-B479-9248-B335-3390C7E7C14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648570" y="2200655"/>
            <a:ext cx="764668" cy="7646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78A38C2-2A99-1B84-6F9E-F3936B851779}"/>
              </a:ext>
            </a:extLst>
          </p:cNvPr>
          <p:cNvSpPr/>
          <p:nvPr/>
        </p:nvSpPr>
        <p:spPr>
          <a:xfrm>
            <a:off x="472427" y="3675179"/>
            <a:ext cx="1695450" cy="1374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Working with AWS, 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18"/>
              </a:rPr>
              <a:t>Foundation Medicine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accelerated their cloud journey by moving  data to AWS quickly and securely with AWS DataSync. Learn how 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  <a:hlinkClick r:id="rId19"/>
              </a:rPr>
              <a:t>23andMe</a:t>
            </a:r>
            <a:r>
              <a:rPr lang="en-US" altLang="en-US" sz="833" dirty="0"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rPr>
              <a:t> leveraged AWS partner Weka.io and services like Amazon S3 and AWS Batch for full migration to the cloud, a process that took only 4 months.</a:t>
            </a:r>
            <a:endParaRPr lang="en-US" sz="833" dirty="0">
              <a:solidFill>
                <a:srgbClr val="FFFFFF"/>
              </a:solidFill>
              <a:latin typeface="Amazon Ember Light" panose="020B0403020204020204" pitchFamily="34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2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E32DB6-21B7-FD55-80B0-E58C1AA0C6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1FCD3-FC1C-93B4-67DB-A8444287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39471"/>
            <a:ext cx="8924544" cy="1421928"/>
          </a:xfrm>
        </p:spPr>
        <p:txBody>
          <a:bodyPr/>
          <a:lstStyle/>
          <a:p>
            <a:r>
              <a:rPr lang="en-US" dirty="0"/>
              <a:t>GPUs + SageMaker HyperPo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48588-030C-7870-B646-F27F173B7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29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2689658A-8610-7E2B-A3AB-BA66D351BC5A}"/>
              </a:ext>
            </a:extLst>
          </p:cNvPr>
          <p:cNvSpPr/>
          <p:nvPr/>
        </p:nvSpPr>
        <p:spPr>
          <a:xfrm>
            <a:off x="857679" y="5417238"/>
            <a:ext cx="8782080" cy="369332"/>
          </a:xfrm>
          <a:prstGeom prst="roundRect">
            <a:avLst/>
          </a:prstGeom>
          <a:solidFill>
            <a:srgbClr val="03051A">
              <a:alpha val="73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2EE8A0-5FB3-4586-80D1-82F755887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35899"/>
            <a:ext cx="10972800" cy="535531"/>
          </a:xfrm>
        </p:spPr>
        <p:txBody>
          <a:bodyPr/>
          <a:lstStyle/>
          <a:p>
            <a:r>
              <a:rPr lang="en-US" b="1" dirty="0"/>
              <a:t>Cluster size growth leads to higher failur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D428372-DC76-4969-96A4-516D5DCCB843}"/>
              </a:ext>
            </a:extLst>
          </p:cNvPr>
          <p:cNvGraphicFramePr>
            <a:graphicFrameLocks noGrp="1"/>
          </p:cNvGraphicFramePr>
          <p:nvPr/>
        </p:nvGraphicFramePr>
        <p:xfrm>
          <a:off x="1022072" y="1969684"/>
          <a:ext cx="9770167" cy="3375512"/>
        </p:xfrm>
        <a:graphic>
          <a:graphicData uri="http://schemas.openxmlformats.org/drawingml/2006/table">
            <a:tbl>
              <a:tblPr/>
              <a:tblGrid>
                <a:gridCol w="2744431">
                  <a:extLst>
                    <a:ext uri="{9D8B030D-6E8A-4147-A177-3AD203B41FA5}">
                      <a16:colId xmlns:a16="http://schemas.microsoft.com/office/drawing/2014/main" val="2073544051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1810994804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4273844761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3267026986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2931660362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232885695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2216576694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1255967037"/>
                    </a:ext>
                  </a:extLst>
                </a:gridCol>
                <a:gridCol w="878217">
                  <a:extLst>
                    <a:ext uri="{9D8B030D-6E8A-4147-A177-3AD203B41FA5}">
                      <a16:colId xmlns:a16="http://schemas.microsoft.com/office/drawing/2014/main" val="1215707704"/>
                    </a:ext>
                  </a:extLst>
                </a:gridCol>
              </a:tblGrid>
              <a:tr h="50569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Number of Nodes In Cluste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2524443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ailure Rate</a:t>
                      </a:r>
                    </a:p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per node per hour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2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5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500887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1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E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754518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2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E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9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914306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5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6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5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D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849006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7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A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994227"/>
                  </a:ext>
                </a:extLst>
              </a:tr>
              <a:tr h="4507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6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5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D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288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F1FA0C2-C335-4AFF-8CC2-BF37B0A5214B}"/>
              </a:ext>
            </a:extLst>
          </p:cNvPr>
          <p:cNvSpPr txBox="1"/>
          <p:nvPr/>
        </p:nvSpPr>
        <p:spPr>
          <a:xfrm>
            <a:off x="2751481" y="1544271"/>
            <a:ext cx="6311348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Mean time to failure by cluster size (in hour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EDA953-BA29-424B-AF58-8EFE2F14DAFF}"/>
              </a:ext>
            </a:extLst>
          </p:cNvPr>
          <p:cNvSpPr txBox="1"/>
          <p:nvPr/>
        </p:nvSpPr>
        <p:spPr>
          <a:xfrm>
            <a:off x="1022072" y="5417238"/>
            <a:ext cx="9392064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A 128 node (1024 GPU) cluster, will experience one failure every 12 to 40 hou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9A852C-3A5F-4B95-8670-912FF3D021EA}"/>
              </a:ext>
            </a:extLst>
          </p:cNvPr>
          <p:cNvSpPr/>
          <p:nvPr/>
        </p:nvSpPr>
        <p:spPr>
          <a:xfrm>
            <a:off x="8167974" y="2681001"/>
            <a:ext cx="861804" cy="2665779"/>
          </a:xfrm>
          <a:prstGeom prst="rect">
            <a:avLst/>
          </a:prstGeom>
          <a:solidFill>
            <a:schemeClr val="tx2">
              <a:lumMod val="40000"/>
              <a:lumOff val="60000"/>
              <a:alpha val="41961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66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1212">
            <a:extLst>
              <a:ext uri="{FF2B5EF4-FFF2-40B4-BE49-F238E27FC236}">
                <a16:creationId xmlns:a16="http://schemas.microsoft.com/office/drawing/2014/main" id="{B4EB5A15-A71B-784B-8C71-8EC89E6564B6}"/>
              </a:ext>
            </a:extLst>
          </p:cNvPr>
          <p:cNvSpPr/>
          <p:nvPr/>
        </p:nvSpPr>
        <p:spPr>
          <a:xfrm>
            <a:off x="1446683" y="2647612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G5g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41" name="Shape 1212">
            <a:extLst>
              <a:ext uri="{FF2B5EF4-FFF2-40B4-BE49-F238E27FC236}">
                <a16:creationId xmlns:a16="http://schemas.microsoft.com/office/drawing/2014/main" id="{EBB394DE-F01F-F44E-B2FC-38B9B141BD88}"/>
              </a:ext>
            </a:extLst>
          </p:cNvPr>
          <p:cNvSpPr/>
          <p:nvPr/>
        </p:nvSpPr>
        <p:spPr>
          <a:xfrm>
            <a:off x="3957932" y="2646661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P4d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43" name="Shape 1212">
            <a:extLst>
              <a:ext uri="{FF2B5EF4-FFF2-40B4-BE49-F238E27FC236}">
                <a16:creationId xmlns:a16="http://schemas.microsoft.com/office/drawing/2014/main" id="{5726377F-D751-7341-8C90-18E2B2FAAC2E}"/>
              </a:ext>
            </a:extLst>
          </p:cNvPr>
          <p:cNvSpPr/>
          <p:nvPr/>
        </p:nvSpPr>
        <p:spPr>
          <a:xfrm>
            <a:off x="6560248" y="2663721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38EF7D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DL2q</a:t>
            </a:r>
            <a:endParaRPr kumimoji="0" lang="en-US" sz="1600" b="0" i="0" u="none" strike="noStrike" kern="0" cap="none" spc="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48" name="Shape 1212">
            <a:extLst>
              <a:ext uri="{FF2B5EF4-FFF2-40B4-BE49-F238E27FC236}">
                <a16:creationId xmlns:a16="http://schemas.microsoft.com/office/drawing/2014/main" id="{E70DC1DA-C1DF-4942-9BB9-3ADF2C32A51E}"/>
              </a:ext>
            </a:extLst>
          </p:cNvPr>
          <p:cNvSpPr/>
          <p:nvPr/>
        </p:nvSpPr>
        <p:spPr>
          <a:xfrm>
            <a:off x="2283766" y="2647612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G6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49" name="Shape 1212">
            <a:extLst>
              <a:ext uri="{FF2B5EF4-FFF2-40B4-BE49-F238E27FC236}">
                <a16:creationId xmlns:a16="http://schemas.microsoft.com/office/drawing/2014/main" id="{73CD43A1-2969-D240-BE23-672FAE312123}"/>
              </a:ext>
            </a:extLst>
          </p:cNvPr>
          <p:cNvSpPr/>
          <p:nvPr/>
        </p:nvSpPr>
        <p:spPr>
          <a:xfrm>
            <a:off x="3120849" y="2647612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82" dirty="0">
                <a:solidFill>
                  <a:prstClr val="white"/>
                </a:solidFill>
                <a:ea typeface="Amazon Ember" panose="020B0603020204020204" pitchFamily="34" charset="0"/>
                <a:cs typeface="Amazon Ember" panose="020B0603020204020204" pitchFamily="34" charset="0"/>
              </a:rPr>
              <a:t>G</a:t>
            </a: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6e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55" name="Shape 1212">
            <a:extLst>
              <a:ext uri="{FF2B5EF4-FFF2-40B4-BE49-F238E27FC236}">
                <a16:creationId xmlns:a16="http://schemas.microsoft.com/office/drawing/2014/main" id="{E99E6147-6B66-47B4-914B-1455DCB9ED4D}"/>
              </a:ext>
            </a:extLst>
          </p:cNvPr>
          <p:cNvSpPr/>
          <p:nvPr/>
        </p:nvSpPr>
        <p:spPr>
          <a:xfrm>
            <a:off x="7397331" y="2674061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38EF7D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Inf2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51" name="Shape 1212">
            <a:extLst>
              <a:ext uri="{FF2B5EF4-FFF2-40B4-BE49-F238E27FC236}">
                <a16:creationId xmlns:a16="http://schemas.microsoft.com/office/drawing/2014/main" id="{05F5E739-EA41-42D5-8C29-986C255F3B41}"/>
              </a:ext>
            </a:extLst>
          </p:cNvPr>
          <p:cNvSpPr/>
          <p:nvPr/>
        </p:nvSpPr>
        <p:spPr>
          <a:xfrm>
            <a:off x="10836730" y="2658823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2074D5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F2</a:t>
            </a:r>
          </a:p>
        </p:txBody>
      </p:sp>
      <p:sp>
        <p:nvSpPr>
          <p:cNvPr id="56" name="Shape 1212">
            <a:extLst>
              <a:ext uri="{FF2B5EF4-FFF2-40B4-BE49-F238E27FC236}">
                <a16:creationId xmlns:a16="http://schemas.microsoft.com/office/drawing/2014/main" id="{3C9E21F4-521E-4A4D-87CF-6B63E42BB922}"/>
              </a:ext>
            </a:extLst>
          </p:cNvPr>
          <p:cNvSpPr/>
          <p:nvPr/>
        </p:nvSpPr>
        <p:spPr>
          <a:xfrm>
            <a:off x="8234414" y="2664188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38EF7D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82" dirty="0">
                <a:solidFill>
                  <a:prstClr val="white"/>
                </a:solidFill>
                <a:ea typeface="Amazon Ember" panose="020B0603020204020204" pitchFamily="34" charset="0"/>
                <a:cs typeface="Amazon Ember" panose="020B0603020204020204" pitchFamily="34" charset="0"/>
              </a:rPr>
              <a:t>Trn2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120" name="Shape 1212">
            <a:extLst>
              <a:ext uri="{FF2B5EF4-FFF2-40B4-BE49-F238E27FC236}">
                <a16:creationId xmlns:a16="http://schemas.microsoft.com/office/drawing/2014/main" id="{5726377F-D751-7341-8C90-18E2B2FAAC2E}"/>
              </a:ext>
            </a:extLst>
          </p:cNvPr>
          <p:cNvSpPr/>
          <p:nvPr/>
        </p:nvSpPr>
        <p:spPr>
          <a:xfrm>
            <a:off x="5632098" y="2659754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P5en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42" name="Shape 1212">
            <a:extLst>
              <a:ext uri="{FF2B5EF4-FFF2-40B4-BE49-F238E27FC236}">
                <a16:creationId xmlns:a16="http://schemas.microsoft.com/office/drawing/2014/main" id="{5726377F-D751-7341-8C90-18E2B2FAAC2E}"/>
              </a:ext>
            </a:extLst>
          </p:cNvPr>
          <p:cNvSpPr/>
          <p:nvPr/>
        </p:nvSpPr>
        <p:spPr>
          <a:xfrm>
            <a:off x="9071497" y="2650020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38EF7D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VT1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57DABB-A759-FB7C-A718-9870BA2E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4B8DE2-A4E8-46E4-8BBF-D75455EFF32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tint val="75000"/>
                  </a:prstClr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tint val="75000"/>
                </a:prstClr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1F6FFF-FB0B-4853-9B6F-3F289B89D06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7394" y="127000"/>
            <a:ext cx="10972800" cy="536575"/>
          </a:xfrm>
        </p:spPr>
        <p:txBody>
          <a:bodyPr/>
          <a:lstStyle/>
          <a:p>
            <a:r>
              <a:rPr lang="en-US" dirty="0"/>
              <a:t>Optimize for price-performance ‘Sweet Spot’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04196B-EA97-4752-8F1F-AD32354B7C2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07394" y="696913"/>
            <a:ext cx="11395075" cy="48013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PU, AWS ML Accelerators, And FPGA-based EC2 instances</a:t>
            </a:r>
          </a:p>
        </p:txBody>
      </p:sp>
      <p:sp>
        <p:nvSpPr>
          <p:cNvPr id="39" name="Left Brace 38">
            <a:extLst>
              <a:ext uri="{FF2B5EF4-FFF2-40B4-BE49-F238E27FC236}">
                <a16:creationId xmlns:a16="http://schemas.microsoft.com/office/drawing/2014/main" id="{C29EC73C-49A1-4285-AFDE-F69482348DAD}"/>
              </a:ext>
            </a:extLst>
          </p:cNvPr>
          <p:cNvSpPr/>
          <p:nvPr/>
        </p:nvSpPr>
        <p:spPr>
          <a:xfrm rot="5400000">
            <a:off x="3264779" y="-639157"/>
            <a:ext cx="452805" cy="5763163"/>
          </a:xfrm>
          <a:prstGeom prst="leftBrace">
            <a:avLst>
              <a:gd name="adj1" fmla="val 0"/>
              <a:gd name="adj2" fmla="val 50000"/>
            </a:avLst>
          </a:prstGeom>
          <a:ln w="12700">
            <a:solidFill>
              <a:srgbClr val="FF9900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0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48AB01A-D4E6-4956-8F19-E59CB2CD8415}"/>
              </a:ext>
            </a:extLst>
          </p:cNvPr>
          <p:cNvSpPr txBox="1"/>
          <p:nvPr/>
        </p:nvSpPr>
        <p:spPr>
          <a:xfrm>
            <a:off x="2160617" y="1643432"/>
            <a:ext cx="2644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GPU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4CB2377-B6F4-433D-831D-1AED566FDB7B}"/>
              </a:ext>
            </a:extLst>
          </p:cNvPr>
          <p:cNvSpPr txBox="1"/>
          <p:nvPr/>
        </p:nvSpPr>
        <p:spPr>
          <a:xfrm>
            <a:off x="6970781" y="1643432"/>
            <a:ext cx="3235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731502">
              <a:defRPr b="1">
                <a:solidFill>
                  <a:schemeClr val="tx1">
                    <a:lumMod val="85000"/>
                  </a:schemeClr>
                </a:solidFill>
              </a:defRPr>
            </a:lvl1pPr>
          </a:lstStyle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AI/ML accelerators and ASIC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3CAAA71-D630-4FC5-A221-832EE4C99880}"/>
              </a:ext>
            </a:extLst>
          </p:cNvPr>
          <p:cNvSpPr txBox="1"/>
          <p:nvPr/>
        </p:nvSpPr>
        <p:spPr>
          <a:xfrm>
            <a:off x="10433142" y="1643432"/>
            <a:ext cx="1571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731502">
              <a:defRPr b="1">
                <a:solidFill>
                  <a:schemeClr val="tx1">
                    <a:lumMod val="85000"/>
                  </a:schemeClr>
                </a:solidFill>
              </a:defRPr>
            </a:lvl1pPr>
          </a:lstStyle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FPGAs</a:t>
            </a:r>
          </a:p>
        </p:txBody>
      </p:sp>
      <p:sp>
        <p:nvSpPr>
          <p:cNvPr id="74" name="Left Brace 73">
            <a:extLst>
              <a:ext uri="{FF2B5EF4-FFF2-40B4-BE49-F238E27FC236}">
                <a16:creationId xmlns:a16="http://schemas.microsoft.com/office/drawing/2014/main" id="{10175DCC-9EFE-4FE8-BD9E-C4901FBB081C}"/>
              </a:ext>
            </a:extLst>
          </p:cNvPr>
          <p:cNvSpPr/>
          <p:nvPr/>
        </p:nvSpPr>
        <p:spPr>
          <a:xfrm rot="5400000">
            <a:off x="8347315" y="198139"/>
            <a:ext cx="498850" cy="4072984"/>
          </a:xfrm>
          <a:prstGeom prst="leftBrace">
            <a:avLst>
              <a:gd name="adj1" fmla="val 0"/>
              <a:gd name="adj2" fmla="val 50000"/>
            </a:avLst>
          </a:prstGeom>
          <a:ln w="12700">
            <a:solidFill>
              <a:srgbClr val="38EF7D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0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"/>
              <a:ea typeface="+mn-ea"/>
              <a:cs typeface="+mn-cs"/>
            </a:endParaRPr>
          </a:p>
        </p:txBody>
      </p:sp>
      <p:sp>
        <p:nvSpPr>
          <p:cNvPr id="75" name="Left Brace 74">
            <a:extLst>
              <a:ext uri="{FF2B5EF4-FFF2-40B4-BE49-F238E27FC236}">
                <a16:creationId xmlns:a16="http://schemas.microsoft.com/office/drawing/2014/main" id="{9F5ACEE4-C7D3-410E-8671-37388AFEFEBB}"/>
              </a:ext>
            </a:extLst>
          </p:cNvPr>
          <p:cNvSpPr/>
          <p:nvPr/>
        </p:nvSpPr>
        <p:spPr>
          <a:xfrm rot="5400000">
            <a:off x="10967955" y="1850441"/>
            <a:ext cx="501110" cy="727779"/>
          </a:xfrm>
          <a:prstGeom prst="leftBrace">
            <a:avLst>
              <a:gd name="adj1" fmla="val 0"/>
              <a:gd name="adj2" fmla="val 50000"/>
            </a:avLst>
          </a:prstGeom>
          <a:ln w="12700">
            <a:solidFill>
              <a:srgbClr val="2074D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73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0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"/>
              <a:ea typeface="+mn-ea"/>
              <a:cs typeface="+mn-cs"/>
            </a:endParaRPr>
          </a:p>
        </p:txBody>
      </p:sp>
      <p:sp>
        <p:nvSpPr>
          <p:cNvPr id="46" name="Shape 1212">
            <a:extLst>
              <a:ext uri="{FF2B5EF4-FFF2-40B4-BE49-F238E27FC236}">
                <a16:creationId xmlns:a16="http://schemas.microsoft.com/office/drawing/2014/main" id="{FEBF68E0-B963-4E51-87A4-AC47372CC6B2}"/>
              </a:ext>
            </a:extLst>
          </p:cNvPr>
          <p:cNvSpPr/>
          <p:nvPr/>
        </p:nvSpPr>
        <p:spPr>
          <a:xfrm>
            <a:off x="9908580" y="2654276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38EF7D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DL1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69" name="Shape 1212">
            <a:extLst>
              <a:ext uri="{FF2B5EF4-FFF2-40B4-BE49-F238E27FC236}">
                <a16:creationId xmlns:a16="http://schemas.microsoft.com/office/drawing/2014/main" id="{D405BC8A-624C-4DC8-AF28-F8EB477C7EBC}"/>
              </a:ext>
            </a:extLst>
          </p:cNvPr>
          <p:cNvSpPr/>
          <p:nvPr/>
        </p:nvSpPr>
        <p:spPr>
          <a:xfrm>
            <a:off x="609600" y="2641805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8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Amazon Ember" panose="020B0603020204020204" pitchFamily="34" charset="0"/>
                <a:cs typeface="Amazon Ember" panose="020B0603020204020204" pitchFamily="34" charset="0"/>
                <a:sym typeface="Amazon Ember Display"/>
              </a:rPr>
              <a:t>G5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sp>
        <p:nvSpPr>
          <p:cNvPr id="3" name="Shape 1212">
            <a:extLst>
              <a:ext uri="{FF2B5EF4-FFF2-40B4-BE49-F238E27FC236}">
                <a16:creationId xmlns:a16="http://schemas.microsoft.com/office/drawing/2014/main" id="{A652103D-59B4-2BF9-1553-6082BE44F567}"/>
              </a:ext>
            </a:extLst>
          </p:cNvPr>
          <p:cNvSpPr/>
          <p:nvPr/>
        </p:nvSpPr>
        <p:spPr>
          <a:xfrm>
            <a:off x="4789663" y="2658823"/>
            <a:ext cx="740664" cy="740664"/>
          </a:xfrm>
          <a:prstGeom prst="rect">
            <a:avLst/>
          </a:prstGeom>
          <a:solidFill>
            <a:srgbClr val="005276"/>
          </a:solidFill>
          <a:ln w="12700">
            <a:solidFill>
              <a:srgbClr val="FF9900"/>
            </a:solidFill>
            <a:prstDash val="solid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5876" tIns="15876" rIns="15876" bIns="15876" anchor="ctr"/>
          <a:lstStyle>
            <a:lvl1pPr>
              <a:defRPr sz="6700" spc="0">
                <a:solidFill>
                  <a:srgbClr val="0E101C"/>
                </a:solidFill>
                <a:latin typeface="Amazon Ember Display"/>
                <a:ea typeface="Amazon Ember Display"/>
                <a:cs typeface="Amazon Ember Display"/>
                <a:sym typeface="Amazon Ember Display"/>
              </a:defRPr>
            </a:lvl1pPr>
          </a:lstStyle>
          <a:p>
            <a:pPr marL="0" marR="0" lvl="0" indent="0" algn="ctr" defTabSz="713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82" dirty="0">
                <a:solidFill>
                  <a:prstClr val="white"/>
                </a:solidFill>
                <a:ea typeface="Amazon Ember" panose="020B0603020204020204" pitchFamily="34" charset="0"/>
                <a:cs typeface="Amazon Ember" panose="020B0603020204020204" pitchFamily="34" charset="0"/>
              </a:rPr>
              <a:t>P5</a:t>
            </a:r>
            <a:endParaRPr kumimoji="0" sz="1600" b="0" i="0" u="none" strike="noStrike" kern="0" cap="none" spc="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mazon Ember Display"/>
              <a:ea typeface="Amazon Ember" panose="020B0603020204020204" pitchFamily="34" charset="0"/>
              <a:cs typeface="Amazon Ember" panose="020B0603020204020204" pitchFamily="34" charset="0"/>
              <a:sym typeface="Amazon Ember Display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808ADDC-6CB5-75B7-8FCC-2A5B7E9EA316}"/>
              </a:ext>
            </a:extLst>
          </p:cNvPr>
          <p:cNvCxnSpPr>
            <a:cxnSpLocks/>
          </p:cNvCxnSpPr>
          <p:nvPr/>
        </p:nvCxnSpPr>
        <p:spPr>
          <a:xfrm>
            <a:off x="550297" y="3917718"/>
            <a:ext cx="3311216" cy="0"/>
          </a:xfrm>
          <a:prstGeom prst="straightConnector1">
            <a:avLst/>
          </a:prstGeom>
          <a:ln w="19050" cap="rnd">
            <a:gradFill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5400000" scaled="1"/>
            </a:gradFill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6535217D-E318-FDB2-C5F0-5A6D48E34C85}"/>
              </a:ext>
            </a:extLst>
          </p:cNvPr>
          <p:cNvSpPr txBox="1">
            <a:spLocks/>
          </p:cNvSpPr>
          <p:nvPr/>
        </p:nvSpPr>
        <p:spPr>
          <a:xfrm>
            <a:off x="979932" y="35464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38EF7D"/>
                </a:solidFill>
              </a:rPr>
              <a:t>Core HPC workload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6334F7-69C9-FF6F-7163-FAD07F9BACC5}"/>
              </a:ext>
            </a:extLst>
          </p:cNvPr>
          <p:cNvSpPr txBox="1"/>
          <p:nvPr/>
        </p:nvSpPr>
        <p:spPr>
          <a:xfrm>
            <a:off x="1326460" y="4082135"/>
            <a:ext cx="2156628" cy="169277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Molecular Dynamics. (GROMACS, NAMD)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Cryo-EM (CryoSpark, Relion) 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Computational Chemistry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Genomics secondary Analysis  (NVIDIA Parabricks)   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5F85753-EFC8-35D0-4502-8E1BA5A881FC}"/>
              </a:ext>
            </a:extLst>
          </p:cNvPr>
          <p:cNvCxnSpPr>
            <a:cxnSpLocks/>
          </p:cNvCxnSpPr>
          <p:nvPr/>
        </p:nvCxnSpPr>
        <p:spPr>
          <a:xfrm>
            <a:off x="3874719" y="3911605"/>
            <a:ext cx="2498043" cy="0"/>
          </a:xfrm>
          <a:prstGeom prst="straightConnector1">
            <a:avLst/>
          </a:prstGeom>
          <a:ln w="19050" cap="rnd">
            <a:gradFill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5400000" scaled="1"/>
            </a:gradFill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E332B2DA-7943-097F-A5C6-46E9BAF206BE}"/>
              </a:ext>
            </a:extLst>
          </p:cNvPr>
          <p:cNvSpPr txBox="1">
            <a:spLocks/>
          </p:cNvSpPr>
          <p:nvPr/>
        </p:nvSpPr>
        <p:spPr>
          <a:xfrm>
            <a:off x="3861513" y="35651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38EF7D"/>
                </a:solidFill>
              </a:rPr>
              <a:t>AI/ML, Core GenAI workloa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B1EB48-E6E7-0B19-D70E-5A5647CB7F52}"/>
              </a:ext>
            </a:extLst>
          </p:cNvPr>
          <p:cNvSpPr txBox="1"/>
          <p:nvPr/>
        </p:nvSpPr>
        <p:spPr>
          <a:xfrm>
            <a:off x="4216134" y="4149438"/>
            <a:ext cx="2156628" cy="243143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Generative Biology and protein Language models(AlphaFold, ESMFold)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Generative Chemistry (MegaMolBART) 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LLMs training for text analysis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DL for imaging (clinical and research) </a:t>
            </a:r>
            <a:br>
              <a:rPr lang="en-US" sz="1200" dirty="0"/>
            </a:br>
            <a:endParaRPr lang="en-US" sz="1200" dirty="0"/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5B4D8EFE-B1BB-DCC9-C3D6-E60C1B93E69E}"/>
              </a:ext>
            </a:extLst>
          </p:cNvPr>
          <p:cNvSpPr txBox="1">
            <a:spLocks/>
          </p:cNvSpPr>
          <p:nvPr/>
        </p:nvSpPr>
        <p:spPr>
          <a:xfrm>
            <a:off x="10557573" y="3458514"/>
            <a:ext cx="1371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38EF7D"/>
                </a:solidFill>
              </a:rPr>
              <a:t>Illumina Genomics 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4E9A940-3B37-190B-4039-46A42085AA05}"/>
              </a:ext>
            </a:extLst>
          </p:cNvPr>
          <p:cNvCxnSpPr>
            <a:cxnSpLocks/>
          </p:cNvCxnSpPr>
          <p:nvPr/>
        </p:nvCxnSpPr>
        <p:spPr>
          <a:xfrm>
            <a:off x="10762949" y="3930283"/>
            <a:ext cx="1166224" cy="0"/>
          </a:xfrm>
          <a:prstGeom prst="straightConnector1">
            <a:avLst/>
          </a:prstGeom>
          <a:ln w="19050" cap="rnd">
            <a:gradFill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5400000" scaled="1"/>
            </a:gradFill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6E7B099-D53B-9AD5-75C7-4D3F30F10092}"/>
              </a:ext>
            </a:extLst>
          </p:cNvPr>
          <p:cNvSpPr txBox="1"/>
          <p:nvPr/>
        </p:nvSpPr>
        <p:spPr>
          <a:xfrm>
            <a:off x="10557571" y="4158007"/>
            <a:ext cx="1371601" cy="14875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Illumina DRAGEN secondary  analysis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Illumina ICA (SaaS platform)</a:t>
            </a:r>
            <a:br>
              <a:rPr lang="en-US" sz="1200" dirty="0"/>
            </a:br>
            <a:endParaRPr lang="en-US" sz="1200" dirty="0"/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2A094AFF-3DE8-0F14-690A-8DB8D8D568A4}"/>
              </a:ext>
            </a:extLst>
          </p:cNvPr>
          <p:cNvSpPr txBox="1">
            <a:spLocks/>
          </p:cNvSpPr>
          <p:nvPr/>
        </p:nvSpPr>
        <p:spPr>
          <a:xfrm>
            <a:off x="7738818" y="35651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38EF7D"/>
                </a:solidFill>
              </a:rPr>
              <a:t>AI/ML, Core GenAI PoCs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7E8C175-535F-AFF5-93E6-54BD4691CB2E}"/>
              </a:ext>
            </a:extLst>
          </p:cNvPr>
          <p:cNvSpPr txBox="1"/>
          <p:nvPr/>
        </p:nvSpPr>
        <p:spPr>
          <a:xfrm>
            <a:off x="8049715" y="4104757"/>
            <a:ext cx="2156628" cy="74892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Pytorch 2.0, AlphaFold</a:t>
            </a:r>
          </a:p>
          <a:p>
            <a:pPr marL="201168" indent="-201168">
              <a:spcBef>
                <a:spcPts val="840"/>
              </a:spcBef>
              <a:buClr>
                <a:schemeClr val="tx1"/>
              </a:buClr>
              <a:buFont typeface="Amazon Ember Display" panose="020F0603020204020204" pitchFamily="34" charset="0"/>
              <a:buChar char="•"/>
            </a:pPr>
            <a:r>
              <a:rPr lang="en-US" sz="1200" dirty="0"/>
              <a:t> (*Check with Trn/Inf teams on Neuron model support)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AC3FFB6-C793-94EF-B8A0-E88CC76E1CF2}"/>
              </a:ext>
            </a:extLst>
          </p:cNvPr>
          <p:cNvCxnSpPr>
            <a:cxnSpLocks/>
          </p:cNvCxnSpPr>
          <p:nvPr/>
        </p:nvCxnSpPr>
        <p:spPr>
          <a:xfrm>
            <a:off x="7419902" y="3911605"/>
            <a:ext cx="3213330" cy="18678"/>
          </a:xfrm>
          <a:prstGeom prst="straightConnector1">
            <a:avLst/>
          </a:prstGeom>
          <a:ln w="19050" cap="rnd">
            <a:gradFill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5400000" scaled="1"/>
            </a:gradFill>
            <a:round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23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DB8E28-3EB2-D093-7C20-16F6C2B99FF2}"/>
              </a:ext>
            </a:extLst>
          </p:cNvPr>
          <p:cNvSpPr txBox="1"/>
          <p:nvPr/>
        </p:nvSpPr>
        <p:spPr>
          <a:xfrm>
            <a:off x="8572500" y="1693810"/>
            <a:ext cx="3009900" cy="3831818"/>
          </a:xfrm>
          <a:prstGeom prst="rect">
            <a:avLst/>
          </a:prstGeom>
          <a:noFill/>
        </p:spPr>
        <p:txBody>
          <a:bodyPr wrap="square" lIns="0" tIns="45720" rIns="0" bIns="45720" rtlCol="0" anchor="t" anchorCtr="0">
            <a:spAutoFit/>
          </a:bodyPr>
          <a:lstStyle/>
          <a:p>
            <a:pPr marL="0" marR="0" lvl="0" indent="0" algn="l" defTabSz="3809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Over 20,000 H200 GPUs (P5en) or 30,000 Trainium Accelerators (Trn)</a:t>
            </a:r>
          </a:p>
          <a:p>
            <a:pPr marL="0" marR="0" lvl="0" indent="0" algn="l" defTabSz="3809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Nonblocking petabit-scale network infrastructure</a:t>
            </a:r>
          </a:p>
          <a:p>
            <a:pPr marL="0" marR="0" lvl="0" indent="0" algn="l" defTabSz="3809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Redesigned fo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16x larger scale and lower latenc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 with second-gen EFA</a:t>
            </a:r>
          </a:p>
          <a:p>
            <a:pPr marL="0" marR="0" lvl="0" indent="0" algn="l" defTabSz="3809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Amazon Ember Light" panose="020B0403020204020204" pitchFamily="34" charset="0"/>
                <a:cs typeface="Amazon Ember Light" panose="020B0403020204020204" pitchFamily="34" charset="0"/>
              </a:rPr>
              <a:t>High-throughput, low-latency storage from Amazon FSx for Lust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DFAD26C-C61E-96DB-A12B-423D0DAA9294}"/>
              </a:ext>
            </a:extLst>
          </p:cNvPr>
          <p:cNvCxnSpPr>
            <a:cxnSpLocks/>
          </p:cNvCxnSpPr>
          <p:nvPr/>
        </p:nvCxnSpPr>
        <p:spPr>
          <a:xfrm>
            <a:off x="8581292" y="2688728"/>
            <a:ext cx="3001108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0" scaled="1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07CBE5-B0F0-6048-2F0E-D066100E4C80}"/>
              </a:ext>
            </a:extLst>
          </p:cNvPr>
          <p:cNvCxnSpPr>
            <a:cxnSpLocks/>
          </p:cNvCxnSpPr>
          <p:nvPr/>
        </p:nvCxnSpPr>
        <p:spPr>
          <a:xfrm>
            <a:off x="8581292" y="3453658"/>
            <a:ext cx="3001108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0" scaled="1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94B8C8-B6AC-10F7-2CE1-0A1BC86FE702}"/>
              </a:ext>
            </a:extLst>
          </p:cNvPr>
          <p:cNvCxnSpPr>
            <a:cxnSpLocks/>
          </p:cNvCxnSpPr>
          <p:nvPr/>
        </p:nvCxnSpPr>
        <p:spPr>
          <a:xfrm>
            <a:off x="8581292" y="4499943"/>
            <a:ext cx="3001108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2074D5"/>
                </a:gs>
                <a:gs pos="100000">
                  <a:srgbClr val="38EF7D"/>
                </a:gs>
              </a:gsLst>
              <a:lin ang="0" scaled="1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FCA0D5A-A178-E929-279C-DEAF68EC6845}"/>
              </a:ext>
            </a:extLst>
          </p:cNvPr>
          <p:cNvGrpSpPr>
            <a:grpSpLocks noChangeAspect="1"/>
          </p:cNvGrpSpPr>
          <p:nvPr/>
        </p:nvGrpSpPr>
        <p:grpSpPr>
          <a:xfrm>
            <a:off x="831412" y="4200461"/>
            <a:ext cx="450427" cy="448056"/>
            <a:chOff x="-1596720" y="2421550"/>
            <a:chExt cx="914400" cy="909585"/>
          </a:xfrm>
        </p:grpSpPr>
        <p:sp>
          <p:nvSpPr>
            <p:cNvPr id="8" name="Graphic 166">
              <a:extLst>
                <a:ext uri="{FF2B5EF4-FFF2-40B4-BE49-F238E27FC236}">
                  <a16:creationId xmlns:a16="http://schemas.microsoft.com/office/drawing/2014/main" id="{C3F7E4F8-F88D-FE5D-FF5C-E2E18AD19340}"/>
                </a:ext>
              </a:extLst>
            </p:cNvPr>
            <p:cNvSpPr/>
            <p:nvPr/>
          </p:nvSpPr>
          <p:spPr>
            <a:xfrm>
              <a:off x="-1503501" y="2511031"/>
              <a:ext cx="729887" cy="729895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9" name="Graphic 166">
              <a:extLst>
                <a:ext uri="{FF2B5EF4-FFF2-40B4-BE49-F238E27FC236}">
                  <a16:creationId xmlns:a16="http://schemas.microsoft.com/office/drawing/2014/main" id="{15D36500-96BF-1FC3-2A9B-4416742DEAFA}"/>
                </a:ext>
              </a:extLst>
            </p:cNvPr>
            <p:cNvSpPr/>
            <p:nvPr/>
          </p:nvSpPr>
          <p:spPr>
            <a:xfrm>
              <a:off x="-1357877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0" name="Graphic 166">
              <a:extLst>
                <a:ext uri="{FF2B5EF4-FFF2-40B4-BE49-F238E27FC236}">
                  <a16:creationId xmlns:a16="http://schemas.microsoft.com/office/drawing/2014/main" id="{B460273F-840C-D4B8-45B2-0783C53DC8E6}"/>
                </a:ext>
              </a:extLst>
            </p:cNvPr>
            <p:cNvSpPr/>
            <p:nvPr/>
          </p:nvSpPr>
          <p:spPr>
            <a:xfrm>
              <a:off x="-1248220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1" name="Graphic 166">
              <a:extLst>
                <a:ext uri="{FF2B5EF4-FFF2-40B4-BE49-F238E27FC236}">
                  <a16:creationId xmlns:a16="http://schemas.microsoft.com/office/drawing/2014/main" id="{CB0EDF0F-DFB9-A4A4-AD0D-F3E1593C656A}"/>
                </a:ext>
              </a:extLst>
            </p:cNvPr>
            <p:cNvSpPr/>
            <p:nvPr/>
          </p:nvSpPr>
          <p:spPr>
            <a:xfrm>
              <a:off x="-1138561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2" name="Graphic 166">
              <a:extLst>
                <a:ext uri="{FF2B5EF4-FFF2-40B4-BE49-F238E27FC236}">
                  <a16:creationId xmlns:a16="http://schemas.microsoft.com/office/drawing/2014/main" id="{DA583D0A-7ABF-BDD1-8F88-FF965733F6C8}"/>
                </a:ext>
              </a:extLst>
            </p:cNvPr>
            <p:cNvSpPr/>
            <p:nvPr/>
          </p:nvSpPr>
          <p:spPr>
            <a:xfrm>
              <a:off x="-1028895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3" name="Graphic 166">
              <a:extLst>
                <a:ext uri="{FF2B5EF4-FFF2-40B4-BE49-F238E27FC236}">
                  <a16:creationId xmlns:a16="http://schemas.microsoft.com/office/drawing/2014/main" id="{EFE3DC85-FACE-BC9C-E0B1-7219FDFA4024}"/>
                </a:ext>
              </a:extLst>
            </p:cNvPr>
            <p:cNvSpPr/>
            <p:nvPr/>
          </p:nvSpPr>
          <p:spPr>
            <a:xfrm>
              <a:off x="-919238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4" name="Graphic 166">
              <a:extLst>
                <a:ext uri="{FF2B5EF4-FFF2-40B4-BE49-F238E27FC236}">
                  <a16:creationId xmlns:a16="http://schemas.microsoft.com/office/drawing/2014/main" id="{DF7CB150-F7A0-97C0-4C83-359CE01FB0BD}"/>
                </a:ext>
              </a:extLst>
            </p:cNvPr>
            <p:cNvSpPr/>
            <p:nvPr/>
          </p:nvSpPr>
          <p:spPr>
            <a:xfrm>
              <a:off x="-1357877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5" name="Graphic 166">
              <a:extLst>
                <a:ext uri="{FF2B5EF4-FFF2-40B4-BE49-F238E27FC236}">
                  <a16:creationId xmlns:a16="http://schemas.microsoft.com/office/drawing/2014/main" id="{AB4B57B4-BB4A-EB3A-ADC7-AE8D13319D72}"/>
                </a:ext>
              </a:extLst>
            </p:cNvPr>
            <p:cNvSpPr/>
            <p:nvPr/>
          </p:nvSpPr>
          <p:spPr>
            <a:xfrm>
              <a:off x="-1248220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6" name="Graphic 166">
              <a:extLst>
                <a:ext uri="{FF2B5EF4-FFF2-40B4-BE49-F238E27FC236}">
                  <a16:creationId xmlns:a16="http://schemas.microsoft.com/office/drawing/2014/main" id="{CFC7684C-2222-00B3-D400-29AC885A51FD}"/>
                </a:ext>
              </a:extLst>
            </p:cNvPr>
            <p:cNvSpPr/>
            <p:nvPr/>
          </p:nvSpPr>
          <p:spPr>
            <a:xfrm>
              <a:off x="-1138561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7" name="Graphic 166">
              <a:extLst>
                <a:ext uri="{FF2B5EF4-FFF2-40B4-BE49-F238E27FC236}">
                  <a16:creationId xmlns:a16="http://schemas.microsoft.com/office/drawing/2014/main" id="{BDC0A263-C3EC-07CD-6A6A-A7C1D13171B2}"/>
                </a:ext>
              </a:extLst>
            </p:cNvPr>
            <p:cNvSpPr/>
            <p:nvPr/>
          </p:nvSpPr>
          <p:spPr>
            <a:xfrm>
              <a:off x="-1028895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8" name="Graphic 166">
              <a:extLst>
                <a:ext uri="{FF2B5EF4-FFF2-40B4-BE49-F238E27FC236}">
                  <a16:creationId xmlns:a16="http://schemas.microsoft.com/office/drawing/2014/main" id="{EF90A4E2-F30F-19A2-47C8-CF8E8B003A8C}"/>
                </a:ext>
              </a:extLst>
            </p:cNvPr>
            <p:cNvSpPr/>
            <p:nvPr/>
          </p:nvSpPr>
          <p:spPr>
            <a:xfrm>
              <a:off x="-919238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19" name="Graphic 166">
              <a:extLst>
                <a:ext uri="{FF2B5EF4-FFF2-40B4-BE49-F238E27FC236}">
                  <a16:creationId xmlns:a16="http://schemas.microsoft.com/office/drawing/2014/main" id="{2F822852-E61A-6332-3A5A-A3C35B91DD54}"/>
                </a:ext>
              </a:extLst>
            </p:cNvPr>
            <p:cNvSpPr/>
            <p:nvPr/>
          </p:nvSpPr>
          <p:spPr>
            <a:xfrm>
              <a:off x="-772937" y="2656662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0" name="Graphic 166">
              <a:extLst>
                <a:ext uri="{FF2B5EF4-FFF2-40B4-BE49-F238E27FC236}">
                  <a16:creationId xmlns:a16="http://schemas.microsoft.com/office/drawing/2014/main" id="{B395E3A9-B34D-789D-8725-561C13967EDB}"/>
                </a:ext>
              </a:extLst>
            </p:cNvPr>
            <p:cNvSpPr/>
            <p:nvPr/>
          </p:nvSpPr>
          <p:spPr>
            <a:xfrm>
              <a:off x="-772937" y="2766321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1" name="Graphic 166">
              <a:extLst>
                <a:ext uri="{FF2B5EF4-FFF2-40B4-BE49-F238E27FC236}">
                  <a16:creationId xmlns:a16="http://schemas.microsoft.com/office/drawing/2014/main" id="{13A335D1-E3EE-E035-CD15-ED367806A2C3}"/>
                </a:ext>
              </a:extLst>
            </p:cNvPr>
            <p:cNvSpPr/>
            <p:nvPr/>
          </p:nvSpPr>
          <p:spPr>
            <a:xfrm>
              <a:off x="-772937" y="2875978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2" name="Graphic 166">
              <a:extLst>
                <a:ext uri="{FF2B5EF4-FFF2-40B4-BE49-F238E27FC236}">
                  <a16:creationId xmlns:a16="http://schemas.microsoft.com/office/drawing/2014/main" id="{6A480408-399B-3AA7-42AE-571ED2AEB979}"/>
                </a:ext>
              </a:extLst>
            </p:cNvPr>
            <p:cNvSpPr/>
            <p:nvPr/>
          </p:nvSpPr>
          <p:spPr>
            <a:xfrm>
              <a:off x="-772937" y="2985637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3" name="Graphic 166">
              <a:extLst>
                <a:ext uri="{FF2B5EF4-FFF2-40B4-BE49-F238E27FC236}">
                  <a16:creationId xmlns:a16="http://schemas.microsoft.com/office/drawing/2014/main" id="{1AF4D386-6219-DE45-27EA-AE545EC14734}"/>
                </a:ext>
              </a:extLst>
            </p:cNvPr>
            <p:cNvSpPr/>
            <p:nvPr/>
          </p:nvSpPr>
          <p:spPr>
            <a:xfrm>
              <a:off x="-772937" y="3095294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4" name="Graphic 166">
              <a:extLst>
                <a:ext uri="{FF2B5EF4-FFF2-40B4-BE49-F238E27FC236}">
                  <a16:creationId xmlns:a16="http://schemas.microsoft.com/office/drawing/2014/main" id="{13C2897C-8D81-4FFF-E033-156F64A997CA}"/>
                </a:ext>
              </a:extLst>
            </p:cNvPr>
            <p:cNvSpPr/>
            <p:nvPr/>
          </p:nvSpPr>
          <p:spPr>
            <a:xfrm>
              <a:off x="-1596720" y="2656662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5" name="Graphic 166">
              <a:extLst>
                <a:ext uri="{FF2B5EF4-FFF2-40B4-BE49-F238E27FC236}">
                  <a16:creationId xmlns:a16="http://schemas.microsoft.com/office/drawing/2014/main" id="{B0A54972-6939-CF19-B2E5-77DF4588F149}"/>
                </a:ext>
              </a:extLst>
            </p:cNvPr>
            <p:cNvSpPr/>
            <p:nvPr/>
          </p:nvSpPr>
          <p:spPr>
            <a:xfrm>
              <a:off x="-1596720" y="2766321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6" name="Graphic 166">
              <a:extLst>
                <a:ext uri="{FF2B5EF4-FFF2-40B4-BE49-F238E27FC236}">
                  <a16:creationId xmlns:a16="http://schemas.microsoft.com/office/drawing/2014/main" id="{8392E1CB-151D-1494-2136-2CFB4A8DEA02}"/>
                </a:ext>
              </a:extLst>
            </p:cNvPr>
            <p:cNvSpPr/>
            <p:nvPr/>
          </p:nvSpPr>
          <p:spPr>
            <a:xfrm>
              <a:off x="-1596720" y="2875978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7" name="Graphic 166">
              <a:extLst>
                <a:ext uri="{FF2B5EF4-FFF2-40B4-BE49-F238E27FC236}">
                  <a16:creationId xmlns:a16="http://schemas.microsoft.com/office/drawing/2014/main" id="{D58FFF85-45D9-85B6-5103-C12A4887C1F3}"/>
                </a:ext>
              </a:extLst>
            </p:cNvPr>
            <p:cNvSpPr/>
            <p:nvPr/>
          </p:nvSpPr>
          <p:spPr>
            <a:xfrm>
              <a:off x="-1596720" y="2985637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8" name="Graphic 166">
              <a:extLst>
                <a:ext uri="{FF2B5EF4-FFF2-40B4-BE49-F238E27FC236}">
                  <a16:creationId xmlns:a16="http://schemas.microsoft.com/office/drawing/2014/main" id="{291C3025-51A1-4B33-70A6-E846D9B80318}"/>
                </a:ext>
              </a:extLst>
            </p:cNvPr>
            <p:cNvSpPr/>
            <p:nvPr/>
          </p:nvSpPr>
          <p:spPr>
            <a:xfrm>
              <a:off x="-1596720" y="3095294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" name="Freeform: Shape 1431">
              <a:extLst>
                <a:ext uri="{FF2B5EF4-FFF2-40B4-BE49-F238E27FC236}">
                  <a16:creationId xmlns:a16="http://schemas.microsoft.com/office/drawing/2014/main" id="{267CB4F6-9F1A-28AB-A098-0F06986AEB9E}"/>
                </a:ext>
              </a:extLst>
            </p:cNvPr>
            <p:cNvSpPr/>
            <p:nvPr/>
          </p:nvSpPr>
          <p:spPr>
            <a:xfrm>
              <a:off x="-1395733" y="2738376"/>
              <a:ext cx="514350" cy="275205"/>
            </a:xfrm>
            <a:custGeom>
              <a:avLst/>
              <a:gdLst>
                <a:gd name="connsiteX0" fmla="*/ 395643 w 514350"/>
                <a:gd name="connsiteY0" fmla="*/ 176563 h 275205"/>
                <a:gd name="connsiteX1" fmla="*/ 330464 w 514350"/>
                <a:gd name="connsiteY1" fmla="*/ 270203 h 275205"/>
                <a:gd name="connsiteX2" fmla="*/ 359858 w 514350"/>
                <a:gd name="connsiteY2" fmla="*/ 270203 h 275205"/>
                <a:gd name="connsiteX3" fmla="*/ 408883 w 514350"/>
                <a:gd name="connsiteY3" fmla="*/ 195946 h 275205"/>
                <a:gd name="connsiteX4" fmla="*/ 395643 w 514350"/>
                <a:gd name="connsiteY4" fmla="*/ 176563 h 275205"/>
                <a:gd name="connsiteX5" fmla="*/ 483378 w 514350"/>
                <a:gd name="connsiteY5" fmla="*/ 270203 h 275205"/>
                <a:gd name="connsiteX6" fmla="*/ 514363 w 514350"/>
                <a:gd name="connsiteY6" fmla="*/ 270203 h 275205"/>
                <a:gd name="connsiteX7" fmla="*/ 437315 w 514350"/>
                <a:gd name="connsiteY7" fmla="*/ 156541 h 275205"/>
                <a:gd name="connsiteX8" fmla="*/ 507476 w 514350"/>
                <a:gd name="connsiteY8" fmla="*/ 55110 h 275205"/>
                <a:gd name="connsiteX9" fmla="*/ 478492 w 514350"/>
                <a:gd name="connsiteY9" fmla="*/ 55110 h 275205"/>
                <a:gd name="connsiteX10" fmla="*/ 423037 w 514350"/>
                <a:gd name="connsiteY10" fmla="*/ 137206 h 275205"/>
                <a:gd name="connsiteX11" fmla="*/ 408197 w 514350"/>
                <a:gd name="connsiteY11" fmla="*/ 158513 h 275205"/>
                <a:gd name="connsiteX12" fmla="*/ 483378 w 514350"/>
                <a:gd name="connsiteY12" fmla="*/ 270203 h 275205"/>
                <a:gd name="connsiteX13" fmla="*/ 410731 w 514350"/>
                <a:gd name="connsiteY13" fmla="*/ 118994 h 275205"/>
                <a:gd name="connsiteX14" fmla="*/ 367583 w 514350"/>
                <a:gd name="connsiteY14" fmla="*/ 55110 h 275205"/>
                <a:gd name="connsiteX15" fmla="*/ 336988 w 514350"/>
                <a:gd name="connsiteY15" fmla="*/ 55110 h 275205"/>
                <a:gd name="connsiteX16" fmla="*/ 395291 w 514350"/>
                <a:gd name="connsiteY16" fmla="*/ 140320 h 275205"/>
                <a:gd name="connsiteX17" fmla="*/ 410731 w 514350"/>
                <a:gd name="connsiteY17" fmla="*/ 118994 h 275205"/>
                <a:gd name="connsiteX18" fmla="*/ 212087 w 514350"/>
                <a:gd name="connsiteY18" fmla="*/ 136301 h 275205"/>
                <a:gd name="connsiteX19" fmla="*/ 170844 w 514350"/>
                <a:gd name="connsiteY19" fmla="*/ 109240 h 275205"/>
                <a:gd name="connsiteX20" fmla="*/ 157709 w 514350"/>
                <a:gd name="connsiteY20" fmla="*/ 70435 h 275205"/>
                <a:gd name="connsiteX21" fmla="*/ 179426 w 514350"/>
                <a:gd name="connsiteY21" fmla="*/ 19524 h 275205"/>
                <a:gd name="connsiteX22" fmla="*/ 236557 w 514350"/>
                <a:gd name="connsiteY22" fmla="*/ 27 h 275205"/>
                <a:gd name="connsiteX23" fmla="*/ 270323 w 514350"/>
                <a:gd name="connsiteY23" fmla="*/ 4008 h 275205"/>
                <a:gd name="connsiteX24" fmla="*/ 303718 w 514350"/>
                <a:gd name="connsiteY24" fmla="*/ 15171 h 275205"/>
                <a:gd name="connsiteX25" fmla="*/ 303718 w 514350"/>
                <a:gd name="connsiteY25" fmla="*/ 34478 h 275205"/>
                <a:gd name="connsiteX26" fmla="*/ 237643 w 514350"/>
                <a:gd name="connsiteY26" fmla="*/ 20848 h 275205"/>
                <a:gd name="connsiteX27" fmla="*/ 194580 w 514350"/>
                <a:gd name="connsiteY27" fmla="*/ 33526 h 275205"/>
                <a:gd name="connsiteX28" fmla="*/ 179607 w 514350"/>
                <a:gd name="connsiteY28" fmla="*/ 69683 h 275205"/>
                <a:gd name="connsiteX29" fmla="*/ 184179 w 514350"/>
                <a:gd name="connsiteY29" fmla="*/ 91066 h 275205"/>
                <a:gd name="connsiteX30" fmla="*/ 199133 w 514350"/>
                <a:gd name="connsiteY30" fmla="*/ 105830 h 275205"/>
                <a:gd name="connsiteX31" fmla="*/ 228889 w 514350"/>
                <a:gd name="connsiteY31" fmla="*/ 120022 h 275205"/>
                <a:gd name="connsiteX32" fmla="*/ 267951 w 514350"/>
                <a:gd name="connsiteY32" fmla="*/ 135548 h 275205"/>
                <a:gd name="connsiteX33" fmla="*/ 306270 w 514350"/>
                <a:gd name="connsiteY33" fmla="*/ 161485 h 275205"/>
                <a:gd name="connsiteX34" fmla="*/ 318319 w 514350"/>
                <a:gd name="connsiteY34" fmla="*/ 199899 h 275205"/>
                <a:gd name="connsiteX35" fmla="*/ 294412 w 514350"/>
                <a:gd name="connsiteY35" fmla="*/ 254411 h 275205"/>
                <a:gd name="connsiteX36" fmla="*/ 231442 w 514350"/>
                <a:gd name="connsiteY36" fmla="*/ 275232 h 275205"/>
                <a:gd name="connsiteX37" fmla="*/ 159166 w 514350"/>
                <a:gd name="connsiteY37" fmla="*/ 259326 h 275205"/>
                <a:gd name="connsiteX38" fmla="*/ 159166 w 514350"/>
                <a:gd name="connsiteY38" fmla="*/ 240028 h 275205"/>
                <a:gd name="connsiteX39" fmla="*/ 229613 w 514350"/>
                <a:gd name="connsiteY39" fmla="*/ 254411 h 275205"/>
                <a:gd name="connsiteX40" fmla="*/ 277981 w 514350"/>
                <a:gd name="connsiteY40" fmla="*/ 239647 h 275205"/>
                <a:gd name="connsiteX41" fmla="*/ 296050 w 514350"/>
                <a:gd name="connsiteY41" fmla="*/ 199528 h 275205"/>
                <a:gd name="connsiteX42" fmla="*/ 286201 w 514350"/>
                <a:gd name="connsiteY42" fmla="*/ 173020 h 275205"/>
                <a:gd name="connsiteX43" fmla="*/ 254445 w 514350"/>
                <a:gd name="connsiteY43" fmla="*/ 153341 h 275205"/>
                <a:gd name="connsiteX44" fmla="*/ 212087 w 514350"/>
                <a:gd name="connsiteY44" fmla="*/ 136301 h 275205"/>
                <a:gd name="connsiteX45" fmla="*/ 13 w 514350"/>
                <a:gd name="connsiteY45" fmla="*/ 268793 h 275205"/>
                <a:gd name="connsiteX46" fmla="*/ 13 w 514350"/>
                <a:gd name="connsiteY46" fmla="*/ 6465 h 275205"/>
                <a:gd name="connsiteX47" fmla="*/ 142002 w 514350"/>
                <a:gd name="connsiteY47" fmla="*/ 6465 h 275205"/>
                <a:gd name="connsiteX48" fmla="*/ 142002 w 514350"/>
                <a:gd name="connsiteY48" fmla="*/ 26535 h 275205"/>
                <a:gd name="connsiteX49" fmla="*/ 21549 w 514350"/>
                <a:gd name="connsiteY49" fmla="*/ 26535 h 275205"/>
                <a:gd name="connsiteX50" fmla="*/ 21549 w 514350"/>
                <a:gd name="connsiteY50" fmla="*/ 126842 h 275205"/>
                <a:gd name="connsiteX51" fmla="*/ 123390 w 514350"/>
                <a:gd name="connsiteY51" fmla="*/ 126842 h 275205"/>
                <a:gd name="connsiteX52" fmla="*/ 123390 w 514350"/>
                <a:gd name="connsiteY52" fmla="*/ 146902 h 275205"/>
                <a:gd name="connsiteX53" fmla="*/ 21549 w 514350"/>
                <a:gd name="connsiteY53" fmla="*/ 146902 h 275205"/>
                <a:gd name="connsiteX54" fmla="*/ 21549 w 514350"/>
                <a:gd name="connsiteY54" fmla="*/ 268793 h 275205"/>
                <a:gd name="connsiteX55" fmla="*/ 13 w 514350"/>
                <a:gd name="connsiteY55" fmla="*/ 268793 h 27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275205">
                  <a:moveTo>
                    <a:pt x="395643" y="176563"/>
                  </a:moveTo>
                  <a:lnTo>
                    <a:pt x="330464" y="270203"/>
                  </a:lnTo>
                  <a:lnTo>
                    <a:pt x="359858" y="270203"/>
                  </a:lnTo>
                  <a:lnTo>
                    <a:pt x="408883" y="195946"/>
                  </a:lnTo>
                  <a:lnTo>
                    <a:pt x="395643" y="176563"/>
                  </a:lnTo>
                  <a:close/>
                  <a:moveTo>
                    <a:pt x="483378" y="270203"/>
                  </a:moveTo>
                  <a:lnTo>
                    <a:pt x="514363" y="270203"/>
                  </a:lnTo>
                  <a:lnTo>
                    <a:pt x="437315" y="156541"/>
                  </a:lnTo>
                  <a:lnTo>
                    <a:pt x="507476" y="55110"/>
                  </a:lnTo>
                  <a:lnTo>
                    <a:pt x="478492" y="55110"/>
                  </a:lnTo>
                  <a:lnTo>
                    <a:pt x="423037" y="137206"/>
                  </a:lnTo>
                  <a:lnTo>
                    <a:pt x="408197" y="158513"/>
                  </a:lnTo>
                  <a:lnTo>
                    <a:pt x="483378" y="270203"/>
                  </a:lnTo>
                  <a:close/>
                  <a:moveTo>
                    <a:pt x="410731" y="118994"/>
                  </a:moveTo>
                  <a:lnTo>
                    <a:pt x="367583" y="55110"/>
                  </a:lnTo>
                  <a:lnTo>
                    <a:pt x="336988" y="55110"/>
                  </a:lnTo>
                  <a:lnTo>
                    <a:pt x="395291" y="140320"/>
                  </a:lnTo>
                  <a:lnTo>
                    <a:pt x="410731" y="118994"/>
                  </a:lnTo>
                  <a:close/>
                  <a:moveTo>
                    <a:pt x="212087" y="136301"/>
                  </a:moveTo>
                  <a:cubicBezTo>
                    <a:pt x="193361" y="128738"/>
                    <a:pt x="179607" y="119718"/>
                    <a:pt x="170844" y="109240"/>
                  </a:cubicBezTo>
                  <a:cubicBezTo>
                    <a:pt x="162081" y="98772"/>
                    <a:pt x="157709" y="85837"/>
                    <a:pt x="157709" y="70435"/>
                  </a:cubicBezTo>
                  <a:cubicBezTo>
                    <a:pt x="157709" y="49499"/>
                    <a:pt x="164948" y="32526"/>
                    <a:pt x="179426" y="19524"/>
                  </a:cubicBezTo>
                  <a:cubicBezTo>
                    <a:pt x="193894" y="6532"/>
                    <a:pt x="212944" y="27"/>
                    <a:pt x="236557" y="27"/>
                  </a:cubicBezTo>
                  <a:cubicBezTo>
                    <a:pt x="247263" y="27"/>
                    <a:pt x="258512" y="1350"/>
                    <a:pt x="270323" y="4008"/>
                  </a:cubicBezTo>
                  <a:cubicBezTo>
                    <a:pt x="282115" y="6656"/>
                    <a:pt x="293250" y="10380"/>
                    <a:pt x="303718" y="15171"/>
                  </a:cubicBezTo>
                  <a:lnTo>
                    <a:pt x="303718" y="34478"/>
                  </a:lnTo>
                  <a:cubicBezTo>
                    <a:pt x="278895" y="25392"/>
                    <a:pt x="256874" y="20848"/>
                    <a:pt x="237643" y="20848"/>
                  </a:cubicBezTo>
                  <a:cubicBezTo>
                    <a:pt x="218907" y="20848"/>
                    <a:pt x="204553" y="25077"/>
                    <a:pt x="194580" y="33526"/>
                  </a:cubicBezTo>
                  <a:cubicBezTo>
                    <a:pt x="184598" y="41994"/>
                    <a:pt x="179607" y="54033"/>
                    <a:pt x="179607" y="69683"/>
                  </a:cubicBezTo>
                  <a:cubicBezTo>
                    <a:pt x="179607" y="78522"/>
                    <a:pt x="181131" y="85647"/>
                    <a:pt x="184179" y="91066"/>
                  </a:cubicBezTo>
                  <a:cubicBezTo>
                    <a:pt x="187208" y="96496"/>
                    <a:pt x="192208" y="101420"/>
                    <a:pt x="199133" y="105830"/>
                  </a:cubicBezTo>
                  <a:cubicBezTo>
                    <a:pt x="206077" y="110250"/>
                    <a:pt x="215992" y="114984"/>
                    <a:pt x="228889" y="120022"/>
                  </a:cubicBezTo>
                  <a:lnTo>
                    <a:pt x="267951" y="135548"/>
                  </a:lnTo>
                  <a:cubicBezTo>
                    <a:pt x="285468" y="142616"/>
                    <a:pt x="298241" y="151255"/>
                    <a:pt x="306270" y="161485"/>
                  </a:cubicBezTo>
                  <a:cubicBezTo>
                    <a:pt x="314300" y="171696"/>
                    <a:pt x="318319" y="184507"/>
                    <a:pt x="318319" y="199899"/>
                  </a:cubicBezTo>
                  <a:cubicBezTo>
                    <a:pt x="318319" y="222369"/>
                    <a:pt x="310347" y="240533"/>
                    <a:pt x="294412" y="254411"/>
                  </a:cubicBezTo>
                  <a:cubicBezTo>
                    <a:pt x="278467" y="268289"/>
                    <a:pt x="257474" y="275232"/>
                    <a:pt x="231442" y="275232"/>
                  </a:cubicBezTo>
                  <a:cubicBezTo>
                    <a:pt x="204429" y="275232"/>
                    <a:pt x="180340" y="269927"/>
                    <a:pt x="159166" y="259326"/>
                  </a:cubicBezTo>
                  <a:lnTo>
                    <a:pt x="159166" y="240028"/>
                  </a:lnTo>
                  <a:cubicBezTo>
                    <a:pt x="184712" y="249620"/>
                    <a:pt x="208201" y="254411"/>
                    <a:pt x="229613" y="254411"/>
                  </a:cubicBezTo>
                  <a:cubicBezTo>
                    <a:pt x="249806" y="254411"/>
                    <a:pt x="265941" y="249486"/>
                    <a:pt x="277981" y="239647"/>
                  </a:cubicBezTo>
                  <a:cubicBezTo>
                    <a:pt x="290030" y="229808"/>
                    <a:pt x="296050" y="216435"/>
                    <a:pt x="296050" y="199528"/>
                  </a:cubicBezTo>
                  <a:cubicBezTo>
                    <a:pt x="296050" y="189174"/>
                    <a:pt x="292764" y="180344"/>
                    <a:pt x="286201" y="173020"/>
                  </a:cubicBezTo>
                  <a:cubicBezTo>
                    <a:pt x="279619" y="165704"/>
                    <a:pt x="269037" y="159151"/>
                    <a:pt x="254445" y="153341"/>
                  </a:cubicBezTo>
                  <a:lnTo>
                    <a:pt x="212087" y="136301"/>
                  </a:lnTo>
                  <a:close/>
                  <a:moveTo>
                    <a:pt x="13" y="268793"/>
                  </a:moveTo>
                  <a:lnTo>
                    <a:pt x="13" y="6465"/>
                  </a:lnTo>
                  <a:lnTo>
                    <a:pt x="142002" y="6465"/>
                  </a:lnTo>
                  <a:lnTo>
                    <a:pt x="142002" y="26535"/>
                  </a:lnTo>
                  <a:lnTo>
                    <a:pt x="21549" y="26535"/>
                  </a:lnTo>
                  <a:lnTo>
                    <a:pt x="21549" y="126842"/>
                  </a:lnTo>
                  <a:lnTo>
                    <a:pt x="123390" y="126842"/>
                  </a:lnTo>
                  <a:lnTo>
                    <a:pt x="123390" y="146902"/>
                  </a:lnTo>
                  <a:lnTo>
                    <a:pt x="21549" y="146902"/>
                  </a:lnTo>
                  <a:lnTo>
                    <a:pt x="21549" y="268793"/>
                  </a:lnTo>
                  <a:lnTo>
                    <a:pt x="13" y="268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48F72A-FC3A-4454-53C8-D2AB1CE4B92A}"/>
              </a:ext>
            </a:extLst>
          </p:cNvPr>
          <p:cNvGrpSpPr/>
          <p:nvPr/>
        </p:nvGrpSpPr>
        <p:grpSpPr>
          <a:xfrm>
            <a:off x="4842424" y="2992404"/>
            <a:ext cx="405632" cy="405632"/>
            <a:chOff x="6735726" y="2429644"/>
            <a:chExt cx="579474" cy="579474"/>
          </a:xfrm>
        </p:grpSpPr>
        <p:sp>
          <p:nvSpPr>
            <p:cNvPr id="31" name="Rectangle: Rounded Corners 59">
              <a:extLst>
                <a:ext uri="{FF2B5EF4-FFF2-40B4-BE49-F238E27FC236}">
                  <a16:creationId xmlns:a16="http://schemas.microsoft.com/office/drawing/2014/main" id="{DCC3BB50-E3C0-1EBE-98E9-93C1DD31A9B7}"/>
                </a:ext>
              </a:extLst>
            </p:cNvPr>
            <p:cNvSpPr/>
            <p:nvPr/>
          </p:nvSpPr>
          <p:spPr>
            <a:xfrm>
              <a:off x="6735726" y="2429644"/>
              <a:ext cx="579474" cy="579474"/>
            </a:xfrm>
            <a:custGeom>
              <a:avLst/>
              <a:gdLst>
                <a:gd name="connsiteX0" fmla="*/ 0 w 579474"/>
                <a:gd name="connsiteY0" fmla="*/ 85948 h 579474"/>
                <a:gd name="connsiteX1" fmla="*/ 85948 w 579474"/>
                <a:gd name="connsiteY1" fmla="*/ 0 h 579474"/>
                <a:gd name="connsiteX2" fmla="*/ 493526 w 579474"/>
                <a:gd name="connsiteY2" fmla="*/ 0 h 579474"/>
                <a:gd name="connsiteX3" fmla="*/ 579474 w 579474"/>
                <a:gd name="connsiteY3" fmla="*/ 85948 h 579474"/>
                <a:gd name="connsiteX4" fmla="*/ 579474 w 579474"/>
                <a:gd name="connsiteY4" fmla="*/ 493526 h 579474"/>
                <a:gd name="connsiteX5" fmla="*/ 493526 w 579474"/>
                <a:gd name="connsiteY5" fmla="*/ 579474 h 579474"/>
                <a:gd name="connsiteX6" fmla="*/ 85948 w 579474"/>
                <a:gd name="connsiteY6" fmla="*/ 579474 h 579474"/>
                <a:gd name="connsiteX7" fmla="*/ 0 w 579474"/>
                <a:gd name="connsiteY7" fmla="*/ 493526 h 579474"/>
                <a:gd name="connsiteX8" fmla="*/ 0 w 579474"/>
                <a:gd name="connsiteY8" fmla="*/ 85948 h 57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9474" h="579474">
                  <a:moveTo>
                    <a:pt x="0" y="85948"/>
                  </a:moveTo>
                  <a:cubicBezTo>
                    <a:pt x="0" y="38480"/>
                    <a:pt x="38480" y="0"/>
                    <a:pt x="85948" y="0"/>
                  </a:cubicBezTo>
                  <a:lnTo>
                    <a:pt x="493526" y="0"/>
                  </a:lnTo>
                  <a:cubicBezTo>
                    <a:pt x="540994" y="0"/>
                    <a:pt x="579474" y="38480"/>
                    <a:pt x="579474" y="85948"/>
                  </a:cubicBezTo>
                  <a:lnTo>
                    <a:pt x="579474" y="493526"/>
                  </a:lnTo>
                  <a:cubicBezTo>
                    <a:pt x="579474" y="540994"/>
                    <a:pt x="540994" y="579474"/>
                    <a:pt x="493526" y="579474"/>
                  </a:cubicBezTo>
                  <a:lnTo>
                    <a:pt x="85948" y="579474"/>
                  </a:lnTo>
                  <a:cubicBezTo>
                    <a:pt x="38480" y="579474"/>
                    <a:pt x="0" y="540994"/>
                    <a:pt x="0" y="493526"/>
                  </a:cubicBezTo>
                  <a:lnTo>
                    <a:pt x="0" y="85948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" tIns="32004" rIns="32004"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E7248CD-F77D-C524-7E59-DBBAE0A4B3AD}"/>
                </a:ext>
              </a:extLst>
            </p:cNvPr>
            <p:cNvGrpSpPr/>
            <p:nvPr/>
          </p:nvGrpSpPr>
          <p:grpSpPr>
            <a:xfrm>
              <a:off x="6811188" y="2494033"/>
              <a:ext cx="428551" cy="450697"/>
              <a:chOff x="6822111" y="2498547"/>
              <a:chExt cx="428551" cy="450697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DA94440-57D3-2452-79DF-261BF6DF1E1E}"/>
                  </a:ext>
                </a:extLst>
              </p:cNvPr>
              <p:cNvGrpSpPr/>
              <p:nvPr/>
            </p:nvGrpSpPr>
            <p:grpSpPr>
              <a:xfrm>
                <a:off x="6822111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53" name="Group 52">
                  <a:extLst>
                    <a:ext uri="{FF2B5EF4-FFF2-40B4-BE49-F238E27FC236}">
                      <a16:creationId xmlns:a16="http://schemas.microsoft.com/office/drawing/2014/main" id="{10038C28-2F76-FA53-2E15-23B3DEDA784E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3F1D0CDA-5267-ADCA-5CF5-CF0CEC555CA9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7" name="Group 66">
                    <a:extLst>
                      <a:ext uri="{FF2B5EF4-FFF2-40B4-BE49-F238E27FC236}">
                        <a16:creationId xmlns:a16="http://schemas.microsoft.com/office/drawing/2014/main" id="{45D60EB3-2DD2-15F1-D56C-819184CCF778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68" name="Straight Connector 67">
                      <a:extLst>
                        <a:ext uri="{FF2B5EF4-FFF2-40B4-BE49-F238E27FC236}">
                          <a16:creationId xmlns:a16="http://schemas.microsoft.com/office/drawing/2014/main" id="{25F68C3B-AAE6-B684-E40C-945DCC1A965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69" name="Straight Connector 68">
                      <a:extLst>
                        <a:ext uri="{FF2B5EF4-FFF2-40B4-BE49-F238E27FC236}">
                          <a16:creationId xmlns:a16="http://schemas.microsoft.com/office/drawing/2014/main" id="{ED696A81-60B9-368B-5E7E-BA97924E453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70" name="Straight Connector 69">
                      <a:extLst>
                        <a:ext uri="{FF2B5EF4-FFF2-40B4-BE49-F238E27FC236}">
                          <a16:creationId xmlns:a16="http://schemas.microsoft.com/office/drawing/2014/main" id="{FEEC08B9-E954-BB60-F781-99D1E07F648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51EE488C-639E-49D3-05AE-E5542FAA9F3B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C5447CDB-F6C0-8E4B-F217-2B0CFF855E5A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2" name="Group 61">
                    <a:extLst>
                      <a:ext uri="{FF2B5EF4-FFF2-40B4-BE49-F238E27FC236}">
                        <a16:creationId xmlns:a16="http://schemas.microsoft.com/office/drawing/2014/main" id="{9C79DF6F-1107-71C3-5F30-582F5339B718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63" name="Straight Connector 62">
                      <a:extLst>
                        <a:ext uri="{FF2B5EF4-FFF2-40B4-BE49-F238E27FC236}">
                          <a16:creationId xmlns:a16="http://schemas.microsoft.com/office/drawing/2014/main" id="{2C4C5454-86AD-EB95-F7F4-A5451791124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64" name="Straight Connector 63">
                      <a:extLst>
                        <a:ext uri="{FF2B5EF4-FFF2-40B4-BE49-F238E27FC236}">
                          <a16:creationId xmlns:a16="http://schemas.microsoft.com/office/drawing/2014/main" id="{9D1EF8DA-631E-3BD3-C013-09DC6D2939B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65" name="Straight Connector 64">
                      <a:extLst>
                        <a:ext uri="{FF2B5EF4-FFF2-40B4-BE49-F238E27FC236}">
                          <a16:creationId xmlns:a16="http://schemas.microsoft.com/office/drawing/2014/main" id="{1065CF4D-86F5-A19C-C998-4C4B4B62394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98B48ED-9EB7-B84F-3D89-1B86994E8BB4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C95D7D16-514F-7D31-2A3F-A846807E8C8D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57" name="Group 56">
                    <a:extLst>
                      <a:ext uri="{FF2B5EF4-FFF2-40B4-BE49-F238E27FC236}">
                        <a16:creationId xmlns:a16="http://schemas.microsoft.com/office/drawing/2014/main" id="{247CEAEB-7434-CAC6-CB50-A134F19FCE1B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58" name="Straight Connector 57">
                      <a:extLst>
                        <a:ext uri="{FF2B5EF4-FFF2-40B4-BE49-F238E27FC236}">
                          <a16:creationId xmlns:a16="http://schemas.microsoft.com/office/drawing/2014/main" id="{AE38CD11-F1EB-71B0-B3E1-AD86F76645D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59" name="Straight Connector 58">
                      <a:extLst>
                        <a:ext uri="{FF2B5EF4-FFF2-40B4-BE49-F238E27FC236}">
                          <a16:creationId xmlns:a16="http://schemas.microsoft.com/office/drawing/2014/main" id="{15988710-FECB-2A86-861F-E4FF20DBCA0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60" name="Straight Connector 59">
                      <a:extLst>
                        <a:ext uri="{FF2B5EF4-FFF2-40B4-BE49-F238E27FC236}">
                          <a16:creationId xmlns:a16="http://schemas.microsoft.com/office/drawing/2014/main" id="{F93439B1-C9BD-AE46-E497-9A161B48D3D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FCA3170B-FADD-4C0A-F778-06CC7CF72EDB}"/>
                  </a:ext>
                </a:extLst>
              </p:cNvPr>
              <p:cNvGrpSpPr/>
              <p:nvPr/>
            </p:nvGrpSpPr>
            <p:grpSpPr>
              <a:xfrm>
                <a:off x="7059794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CBDEF376-A908-ECEB-0882-05554AB62F90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48" name="Rectangle 47">
                    <a:extLst>
                      <a:ext uri="{FF2B5EF4-FFF2-40B4-BE49-F238E27FC236}">
                        <a16:creationId xmlns:a16="http://schemas.microsoft.com/office/drawing/2014/main" id="{DCBE0C7F-911E-587B-54AE-0132E2CB860B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67B0665F-A8C8-F24E-6A19-A2457265289D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50" name="Straight Connector 49">
                      <a:extLst>
                        <a:ext uri="{FF2B5EF4-FFF2-40B4-BE49-F238E27FC236}">
                          <a16:creationId xmlns:a16="http://schemas.microsoft.com/office/drawing/2014/main" id="{71054862-C43A-61C3-6F25-0570F2DD6C4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51" name="Straight Connector 50">
                      <a:extLst>
                        <a:ext uri="{FF2B5EF4-FFF2-40B4-BE49-F238E27FC236}">
                          <a16:creationId xmlns:a16="http://schemas.microsoft.com/office/drawing/2014/main" id="{BD0D8EB5-D50A-6013-FA84-8B0B4D05D85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52" name="Straight Connector 51">
                      <a:extLst>
                        <a:ext uri="{FF2B5EF4-FFF2-40B4-BE49-F238E27FC236}">
                          <a16:creationId xmlns:a16="http://schemas.microsoft.com/office/drawing/2014/main" id="{1162C4E7-953E-36A5-435C-61ED375250D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57F0A222-1918-F8E7-FEDE-D8724008128A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43" name="Rectangle 42">
                    <a:extLst>
                      <a:ext uri="{FF2B5EF4-FFF2-40B4-BE49-F238E27FC236}">
                        <a16:creationId xmlns:a16="http://schemas.microsoft.com/office/drawing/2014/main" id="{FB9A2680-EE9B-2240-06A8-8001BF328E11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4" name="Group 43">
                    <a:extLst>
                      <a:ext uri="{FF2B5EF4-FFF2-40B4-BE49-F238E27FC236}">
                        <a16:creationId xmlns:a16="http://schemas.microsoft.com/office/drawing/2014/main" id="{79EE573C-AB37-0109-368C-6596A311F369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45" name="Straight Connector 44">
                      <a:extLst>
                        <a:ext uri="{FF2B5EF4-FFF2-40B4-BE49-F238E27FC236}">
                          <a16:creationId xmlns:a16="http://schemas.microsoft.com/office/drawing/2014/main" id="{171CCB60-B83D-09A4-EB9C-A1A51CEA254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46" name="Straight Connector 45">
                      <a:extLst>
                        <a:ext uri="{FF2B5EF4-FFF2-40B4-BE49-F238E27FC236}">
                          <a16:creationId xmlns:a16="http://schemas.microsoft.com/office/drawing/2014/main" id="{F7359FDC-6297-BE7E-FAF0-1404FCFBBB3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47" name="Straight Connector 46">
                      <a:extLst>
                        <a:ext uri="{FF2B5EF4-FFF2-40B4-BE49-F238E27FC236}">
                          <a16:creationId xmlns:a16="http://schemas.microsoft.com/office/drawing/2014/main" id="{0150FB31-DA5A-91C1-9E4E-BDAAA6C987A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9E52A6D2-F053-10B2-8C2F-EA3319B30E22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38" name="Rectangle 37">
                    <a:extLst>
                      <a:ext uri="{FF2B5EF4-FFF2-40B4-BE49-F238E27FC236}">
                        <a16:creationId xmlns:a16="http://schemas.microsoft.com/office/drawing/2014/main" id="{1F18D375-7633-C12A-4883-A233BA081B98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9" name="Group 38">
                    <a:extLst>
                      <a:ext uri="{FF2B5EF4-FFF2-40B4-BE49-F238E27FC236}">
                        <a16:creationId xmlns:a16="http://schemas.microsoft.com/office/drawing/2014/main" id="{A5FD01D8-5C6B-57F9-BBC7-C63ECB75D421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40" name="Straight Connector 39">
                      <a:extLst>
                        <a:ext uri="{FF2B5EF4-FFF2-40B4-BE49-F238E27FC236}">
                          <a16:creationId xmlns:a16="http://schemas.microsoft.com/office/drawing/2014/main" id="{26955774-0604-9297-1936-7C7C03AA438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41" name="Straight Connector 40">
                      <a:extLst>
                        <a:ext uri="{FF2B5EF4-FFF2-40B4-BE49-F238E27FC236}">
                          <a16:creationId xmlns:a16="http://schemas.microsoft.com/office/drawing/2014/main" id="{A8E69B7E-2CE7-40FE-9254-B9BD79D3A57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42" name="Straight Connector 41">
                      <a:extLst>
                        <a:ext uri="{FF2B5EF4-FFF2-40B4-BE49-F238E27FC236}">
                          <a16:creationId xmlns:a16="http://schemas.microsoft.com/office/drawing/2014/main" id="{EB1707C9-650E-53A7-779C-0AACC5FDFC6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B81D6A1-74E9-2841-A7AD-54838C75B667}"/>
              </a:ext>
            </a:extLst>
          </p:cNvPr>
          <p:cNvGrpSpPr/>
          <p:nvPr/>
        </p:nvGrpSpPr>
        <p:grpSpPr>
          <a:xfrm>
            <a:off x="5248057" y="2992404"/>
            <a:ext cx="405632" cy="405632"/>
            <a:chOff x="6735726" y="2429644"/>
            <a:chExt cx="579474" cy="579474"/>
          </a:xfrm>
        </p:grpSpPr>
        <p:sp>
          <p:nvSpPr>
            <p:cNvPr id="72" name="Rectangle: Rounded Corners 59">
              <a:extLst>
                <a:ext uri="{FF2B5EF4-FFF2-40B4-BE49-F238E27FC236}">
                  <a16:creationId xmlns:a16="http://schemas.microsoft.com/office/drawing/2014/main" id="{9CCB6BDE-5398-7670-19F9-03ED30249762}"/>
                </a:ext>
              </a:extLst>
            </p:cNvPr>
            <p:cNvSpPr/>
            <p:nvPr/>
          </p:nvSpPr>
          <p:spPr>
            <a:xfrm>
              <a:off x="6735726" y="2429644"/>
              <a:ext cx="579474" cy="579474"/>
            </a:xfrm>
            <a:custGeom>
              <a:avLst/>
              <a:gdLst>
                <a:gd name="connsiteX0" fmla="*/ 0 w 579474"/>
                <a:gd name="connsiteY0" fmla="*/ 85948 h 579474"/>
                <a:gd name="connsiteX1" fmla="*/ 85948 w 579474"/>
                <a:gd name="connsiteY1" fmla="*/ 0 h 579474"/>
                <a:gd name="connsiteX2" fmla="*/ 493526 w 579474"/>
                <a:gd name="connsiteY2" fmla="*/ 0 h 579474"/>
                <a:gd name="connsiteX3" fmla="*/ 579474 w 579474"/>
                <a:gd name="connsiteY3" fmla="*/ 85948 h 579474"/>
                <a:gd name="connsiteX4" fmla="*/ 579474 w 579474"/>
                <a:gd name="connsiteY4" fmla="*/ 493526 h 579474"/>
                <a:gd name="connsiteX5" fmla="*/ 493526 w 579474"/>
                <a:gd name="connsiteY5" fmla="*/ 579474 h 579474"/>
                <a:gd name="connsiteX6" fmla="*/ 85948 w 579474"/>
                <a:gd name="connsiteY6" fmla="*/ 579474 h 579474"/>
                <a:gd name="connsiteX7" fmla="*/ 0 w 579474"/>
                <a:gd name="connsiteY7" fmla="*/ 493526 h 579474"/>
                <a:gd name="connsiteX8" fmla="*/ 0 w 579474"/>
                <a:gd name="connsiteY8" fmla="*/ 85948 h 57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9474" h="579474">
                  <a:moveTo>
                    <a:pt x="0" y="85948"/>
                  </a:moveTo>
                  <a:cubicBezTo>
                    <a:pt x="0" y="38480"/>
                    <a:pt x="38480" y="0"/>
                    <a:pt x="85948" y="0"/>
                  </a:cubicBezTo>
                  <a:lnTo>
                    <a:pt x="493526" y="0"/>
                  </a:lnTo>
                  <a:cubicBezTo>
                    <a:pt x="540994" y="0"/>
                    <a:pt x="579474" y="38480"/>
                    <a:pt x="579474" y="85948"/>
                  </a:cubicBezTo>
                  <a:lnTo>
                    <a:pt x="579474" y="493526"/>
                  </a:lnTo>
                  <a:cubicBezTo>
                    <a:pt x="579474" y="540994"/>
                    <a:pt x="540994" y="579474"/>
                    <a:pt x="493526" y="579474"/>
                  </a:cubicBezTo>
                  <a:lnTo>
                    <a:pt x="85948" y="579474"/>
                  </a:lnTo>
                  <a:cubicBezTo>
                    <a:pt x="38480" y="579474"/>
                    <a:pt x="0" y="540994"/>
                    <a:pt x="0" y="493526"/>
                  </a:cubicBezTo>
                  <a:lnTo>
                    <a:pt x="0" y="85948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" tIns="32004" rIns="32004"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2674EC2-C0CC-FF87-5CBB-72728CE2ACB5}"/>
                </a:ext>
              </a:extLst>
            </p:cNvPr>
            <p:cNvGrpSpPr/>
            <p:nvPr/>
          </p:nvGrpSpPr>
          <p:grpSpPr>
            <a:xfrm>
              <a:off x="6811188" y="2494033"/>
              <a:ext cx="428551" cy="450697"/>
              <a:chOff x="6822111" y="2498547"/>
              <a:chExt cx="428551" cy="450697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50291E5-1546-3018-A752-621A7402D501}"/>
                  </a:ext>
                </a:extLst>
              </p:cNvPr>
              <p:cNvGrpSpPr/>
              <p:nvPr/>
            </p:nvGrpSpPr>
            <p:grpSpPr>
              <a:xfrm>
                <a:off x="6822111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C9C02236-063F-A954-9675-F72A61EC8879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07" name="Rectangle 106">
                    <a:extLst>
                      <a:ext uri="{FF2B5EF4-FFF2-40B4-BE49-F238E27FC236}">
                        <a16:creationId xmlns:a16="http://schemas.microsoft.com/office/drawing/2014/main" id="{ED3ED63D-8E93-417D-B167-8059F1A5A2AC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08" name="Group 107">
                    <a:extLst>
                      <a:ext uri="{FF2B5EF4-FFF2-40B4-BE49-F238E27FC236}">
                        <a16:creationId xmlns:a16="http://schemas.microsoft.com/office/drawing/2014/main" id="{045B0F8A-9A10-15C2-0427-D5632A50AA88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09" name="Straight Connector 108">
                      <a:extLst>
                        <a:ext uri="{FF2B5EF4-FFF2-40B4-BE49-F238E27FC236}">
                          <a16:creationId xmlns:a16="http://schemas.microsoft.com/office/drawing/2014/main" id="{1ECB56B6-9CAC-B0E3-0452-71B6A012822E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10" name="Straight Connector 109">
                      <a:extLst>
                        <a:ext uri="{FF2B5EF4-FFF2-40B4-BE49-F238E27FC236}">
                          <a16:creationId xmlns:a16="http://schemas.microsoft.com/office/drawing/2014/main" id="{2E1FDA6D-D5F4-6A56-2B5D-92873F7660E3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11" name="Straight Connector 110">
                      <a:extLst>
                        <a:ext uri="{FF2B5EF4-FFF2-40B4-BE49-F238E27FC236}">
                          <a16:creationId xmlns:a16="http://schemas.microsoft.com/office/drawing/2014/main" id="{FCE00C3B-5D93-ED7C-FA80-BFD536C7A34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95" name="Group 94">
                  <a:extLst>
                    <a:ext uri="{FF2B5EF4-FFF2-40B4-BE49-F238E27FC236}">
                      <a16:creationId xmlns:a16="http://schemas.microsoft.com/office/drawing/2014/main" id="{7B8B5192-BE0E-DEFD-9C97-1CE2CC92792F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02" name="Rectangle 101">
                    <a:extLst>
                      <a:ext uri="{FF2B5EF4-FFF2-40B4-BE49-F238E27FC236}">
                        <a16:creationId xmlns:a16="http://schemas.microsoft.com/office/drawing/2014/main" id="{8C41F9A3-7C39-AB1A-172F-F820F60882B1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03" name="Group 102">
                    <a:extLst>
                      <a:ext uri="{FF2B5EF4-FFF2-40B4-BE49-F238E27FC236}">
                        <a16:creationId xmlns:a16="http://schemas.microsoft.com/office/drawing/2014/main" id="{CB515AB0-E2D7-902D-FB7F-772735F45EDE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04" name="Straight Connector 103">
                      <a:extLst>
                        <a:ext uri="{FF2B5EF4-FFF2-40B4-BE49-F238E27FC236}">
                          <a16:creationId xmlns:a16="http://schemas.microsoft.com/office/drawing/2014/main" id="{4C3E9ED0-98FA-2339-F9EA-741A8865508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05" name="Straight Connector 104">
                      <a:extLst>
                        <a:ext uri="{FF2B5EF4-FFF2-40B4-BE49-F238E27FC236}">
                          <a16:creationId xmlns:a16="http://schemas.microsoft.com/office/drawing/2014/main" id="{227FC945-F5DB-C993-DD0E-95129F8C950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06" name="Straight Connector 105">
                      <a:extLst>
                        <a:ext uri="{FF2B5EF4-FFF2-40B4-BE49-F238E27FC236}">
                          <a16:creationId xmlns:a16="http://schemas.microsoft.com/office/drawing/2014/main" id="{F9F7051E-242D-B664-EB06-3B4D478CDC33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96" name="Group 95">
                  <a:extLst>
                    <a:ext uri="{FF2B5EF4-FFF2-40B4-BE49-F238E27FC236}">
                      <a16:creationId xmlns:a16="http://schemas.microsoft.com/office/drawing/2014/main" id="{DD54F58B-ED63-B479-B340-D4A2A276DAC2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97" name="Rectangle 96">
                    <a:extLst>
                      <a:ext uri="{FF2B5EF4-FFF2-40B4-BE49-F238E27FC236}">
                        <a16:creationId xmlns:a16="http://schemas.microsoft.com/office/drawing/2014/main" id="{55F1A050-E764-E942-A137-DEAE49EB7462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98" name="Group 97">
                    <a:extLst>
                      <a:ext uri="{FF2B5EF4-FFF2-40B4-BE49-F238E27FC236}">
                        <a16:creationId xmlns:a16="http://schemas.microsoft.com/office/drawing/2014/main" id="{650CC9E8-2F52-62A4-5345-8CC1B9BF683D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99" name="Straight Connector 98">
                      <a:extLst>
                        <a:ext uri="{FF2B5EF4-FFF2-40B4-BE49-F238E27FC236}">
                          <a16:creationId xmlns:a16="http://schemas.microsoft.com/office/drawing/2014/main" id="{FA38A5FC-117A-C562-8A60-4ADFB1A4BBF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00" name="Straight Connector 99">
                      <a:extLst>
                        <a:ext uri="{FF2B5EF4-FFF2-40B4-BE49-F238E27FC236}">
                          <a16:creationId xmlns:a16="http://schemas.microsoft.com/office/drawing/2014/main" id="{EB76A179-0029-8603-4449-64014375DED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01" name="Straight Connector 100">
                      <a:extLst>
                        <a:ext uri="{FF2B5EF4-FFF2-40B4-BE49-F238E27FC236}">
                          <a16:creationId xmlns:a16="http://schemas.microsoft.com/office/drawing/2014/main" id="{22AAB34D-D149-71F7-CB8D-47033AD45F7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461EBB31-61A9-B01F-1377-2BB7665F7752}"/>
                  </a:ext>
                </a:extLst>
              </p:cNvPr>
              <p:cNvGrpSpPr/>
              <p:nvPr/>
            </p:nvGrpSpPr>
            <p:grpSpPr>
              <a:xfrm>
                <a:off x="7059794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20F9DE4F-1FF2-EC99-4DDC-B7BB7D2E16B9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89" name="Rectangle 88">
                    <a:extLst>
                      <a:ext uri="{FF2B5EF4-FFF2-40B4-BE49-F238E27FC236}">
                        <a16:creationId xmlns:a16="http://schemas.microsoft.com/office/drawing/2014/main" id="{8A30AB88-F2AC-D22F-C7DF-9B5550094679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90" name="Group 89">
                    <a:extLst>
                      <a:ext uri="{FF2B5EF4-FFF2-40B4-BE49-F238E27FC236}">
                        <a16:creationId xmlns:a16="http://schemas.microsoft.com/office/drawing/2014/main" id="{A1D925FD-AF70-2185-BA31-FB7E9909825F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91" name="Straight Connector 90">
                      <a:extLst>
                        <a:ext uri="{FF2B5EF4-FFF2-40B4-BE49-F238E27FC236}">
                          <a16:creationId xmlns:a16="http://schemas.microsoft.com/office/drawing/2014/main" id="{DBCBC6A2-2826-35F1-7220-AB29A1AB816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92" name="Straight Connector 91">
                      <a:extLst>
                        <a:ext uri="{FF2B5EF4-FFF2-40B4-BE49-F238E27FC236}">
                          <a16:creationId xmlns:a16="http://schemas.microsoft.com/office/drawing/2014/main" id="{94F03446-241B-D77B-573A-B8FA497573C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93" name="Straight Connector 92">
                      <a:extLst>
                        <a:ext uri="{FF2B5EF4-FFF2-40B4-BE49-F238E27FC236}">
                          <a16:creationId xmlns:a16="http://schemas.microsoft.com/office/drawing/2014/main" id="{11A5D907-5A60-45FD-EBDE-79014A0E020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E1B2593F-7C91-D5D9-17A9-4116F8F60806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84" name="Rectangle 83">
                    <a:extLst>
                      <a:ext uri="{FF2B5EF4-FFF2-40B4-BE49-F238E27FC236}">
                        <a16:creationId xmlns:a16="http://schemas.microsoft.com/office/drawing/2014/main" id="{7FA71628-4A53-4425-D202-9415EABC974C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85" name="Group 84">
                    <a:extLst>
                      <a:ext uri="{FF2B5EF4-FFF2-40B4-BE49-F238E27FC236}">
                        <a16:creationId xmlns:a16="http://schemas.microsoft.com/office/drawing/2014/main" id="{3108A716-34CC-6170-65CF-C6891781471B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86" name="Straight Connector 85">
                      <a:extLst>
                        <a:ext uri="{FF2B5EF4-FFF2-40B4-BE49-F238E27FC236}">
                          <a16:creationId xmlns:a16="http://schemas.microsoft.com/office/drawing/2014/main" id="{D7E737F4-8BE7-3ABB-455D-3476E376850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87" name="Straight Connector 86">
                      <a:extLst>
                        <a:ext uri="{FF2B5EF4-FFF2-40B4-BE49-F238E27FC236}">
                          <a16:creationId xmlns:a16="http://schemas.microsoft.com/office/drawing/2014/main" id="{EBA3D7BD-EBA7-1BDB-D694-41205C9695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88" name="Straight Connector 87">
                      <a:extLst>
                        <a:ext uri="{FF2B5EF4-FFF2-40B4-BE49-F238E27FC236}">
                          <a16:creationId xmlns:a16="http://schemas.microsoft.com/office/drawing/2014/main" id="{43B31423-30D3-6C20-1303-7AA94FA9407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78" name="Group 77">
                  <a:extLst>
                    <a:ext uri="{FF2B5EF4-FFF2-40B4-BE49-F238E27FC236}">
                      <a16:creationId xmlns:a16="http://schemas.microsoft.com/office/drawing/2014/main" id="{FFBDDDA2-4573-B2EA-CD29-484C6B353B81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79" name="Rectangle 78">
                    <a:extLst>
                      <a:ext uri="{FF2B5EF4-FFF2-40B4-BE49-F238E27FC236}">
                        <a16:creationId xmlns:a16="http://schemas.microsoft.com/office/drawing/2014/main" id="{5EBD135D-8558-CF43-16B1-0FC6D47A8D19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80" name="Group 79">
                    <a:extLst>
                      <a:ext uri="{FF2B5EF4-FFF2-40B4-BE49-F238E27FC236}">
                        <a16:creationId xmlns:a16="http://schemas.microsoft.com/office/drawing/2014/main" id="{F73ABE69-AB35-2035-6CC3-E33ABD13562B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81" name="Straight Connector 80">
                      <a:extLst>
                        <a:ext uri="{FF2B5EF4-FFF2-40B4-BE49-F238E27FC236}">
                          <a16:creationId xmlns:a16="http://schemas.microsoft.com/office/drawing/2014/main" id="{AD766840-E729-9FBE-D9BA-36D0BD4CD1A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82" name="Straight Connector 81">
                      <a:extLst>
                        <a:ext uri="{FF2B5EF4-FFF2-40B4-BE49-F238E27FC236}">
                          <a16:creationId xmlns:a16="http://schemas.microsoft.com/office/drawing/2014/main" id="{A4003115-7D22-4D31-E577-70BCF473C50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83" name="Straight Connector 82">
                      <a:extLst>
                        <a:ext uri="{FF2B5EF4-FFF2-40B4-BE49-F238E27FC236}">
                          <a16:creationId xmlns:a16="http://schemas.microsoft.com/office/drawing/2014/main" id="{C0D8D9C0-6808-FC90-4576-6DF9B5F9DAB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</p:grp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2C4A2327-DBCD-8B63-3B9D-D11069F14253}"/>
              </a:ext>
            </a:extLst>
          </p:cNvPr>
          <p:cNvGrpSpPr/>
          <p:nvPr/>
        </p:nvGrpSpPr>
        <p:grpSpPr>
          <a:xfrm>
            <a:off x="5653689" y="2992404"/>
            <a:ext cx="405632" cy="405632"/>
            <a:chOff x="6735726" y="2429644"/>
            <a:chExt cx="579474" cy="579474"/>
          </a:xfrm>
        </p:grpSpPr>
        <p:sp>
          <p:nvSpPr>
            <p:cNvPr id="113" name="Rectangle: Rounded Corners 59">
              <a:extLst>
                <a:ext uri="{FF2B5EF4-FFF2-40B4-BE49-F238E27FC236}">
                  <a16:creationId xmlns:a16="http://schemas.microsoft.com/office/drawing/2014/main" id="{B6DD6D5E-5B9A-7877-1732-3CB6DF420D3A}"/>
                </a:ext>
              </a:extLst>
            </p:cNvPr>
            <p:cNvSpPr/>
            <p:nvPr/>
          </p:nvSpPr>
          <p:spPr>
            <a:xfrm>
              <a:off x="6735726" y="2429644"/>
              <a:ext cx="579474" cy="579474"/>
            </a:xfrm>
            <a:custGeom>
              <a:avLst/>
              <a:gdLst>
                <a:gd name="connsiteX0" fmla="*/ 0 w 579474"/>
                <a:gd name="connsiteY0" fmla="*/ 85948 h 579474"/>
                <a:gd name="connsiteX1" fmla="*/ 85948 w 579474"/>
                <a:gd name="connsiteY1" fmla="*/ 0 h 579474"/>
                <a:gd name="connsiteX2" fmla="*/ 493526 w 579474"/>
                <a:gd name="connsiteY2" fmla="*/ 0 h 579474"/>
                <a:gd name="connsiteX3" fmla="*/ 579474 w 579474"/>
                <a:gd name="connsiteY3" fmla="*/ 85948 h 579474"/>
                <a:gd name="connsiteX4" fmla="*/ 579474 w 579474"/>
                <a:gd name="connsiteY4" fmla="*/ 493526 h 579474"/>
                <a:gd name="connsiteX5" fmla="*/ 493526 w 579474"/>
                <a:gd name="connsiteY5" fmla="*/ 579474 h 579474"/>
                <a:gd name="connsiteX6" fmla="*/ 85948 w 579474"/>
                <a:gd name="connsiteY6" fmla="*/ 579474 h 579474"/>
                <a:gd name="connsiteX7" fmla="*/ 0 w 579474"/>
                <a:gd name="connsiteY7" fmla="*/ 493526 h 579474"/>
                <a:gd name="connsiteX8" fmla="*/ 0 w 579474"/>
                <a:gd name="connsiteY8" fmla="*/ 85948 h 57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9474" h="579474">
                  <a:moveTo>
                    <a:pt x="0" y="85948"/>
                  </a:moveTo>
                  <a:cubicBezTo>
                    <a:pt x="0" y="38480"/>
                    <a:pt x="38480" y="0"/>
                    <a:pt x="85948" y="0"/>
                  </a:cubicBezTo>
                  <a:lnTo>
                    <a:pt x="493526" y="0"/>
                  </a:lnTo>
                  <a:cubicBezTo>
                    <a:pt x="540994" y="0"/>
                    <a:pt x="579474" y="38480"/>
                    <a:pt x="579474" y="85948"/>
                  </a:cubicBezTo>
                  <a:lnTo>
                    <a:pt x="579474" y="493526"/>
                  </a:lnTo>
                  <a:cubicBezTo>
                    <a:pt x="579474" y="540994"/>
                    <a:pt x="540994" y="579474"/>
                    <a:pt x="493526" y="579474"/>
                  </a:cubicBezTo>
                  <a:lnTo>
                    <a:pt x="85948" y="579474"/>
                  </a:lnTo>
                  <a:cubicBezTo>
                    <a:pt x="38480" y="579474"/>
                    <a:pt x="0" y="540994"/>
                    <a:pt x="0" y="493526"/>
                  </a:cubicBezTo>
                  <a:lnTo>
                    <a:pt x="0" y="85948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004" tIns="32004" rIns="32004"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1BAA4498-18DF-1EA4-F27D-F80002AD163B}"/>
                </a:ext>
              </a:extLst>
            </p:cNvPr>
            <p:cNvGrpSpPr/>
            <p:nvPr/>
          </p:nvGrpSpPr>
          <p:grpSpPr>
            <a:xfrm>
              <a:off x="6811188" y="2494033"/>
              <a:ext cx="428551" cy="450697"/>
              <a:chOff x="6822111" y="2498547"/>
              <a:chExt cx="428551" cy="450697"/>
            </a:xfrm>
          </p:grpSpPr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A1C483FA-5E48-3FE0-1905-F238672E0A05}"/>
                  </a:ext>
                </a:extLst>
              </p:cNvPr>
              <p:cNvGrpSpPr/>
              <p:nvPr/>
            </p:nvGrpSpPr>
            <p:grpSpPr>
              <a:xfrm>
                <a:off x="6822111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135" name="Group 134">
                  <a:extLst>
                    <a:ext uri="{FF2B5EF4-FFF2-40B4-BE49-F238E27FC236}">
                      <a16:creationId xmlns:a16="http://schemas.microsoft.com/office/drawing/2014/main" id="{DEB83981-0C7F-F258-0D9E-A0E514F5A138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48" name="Rectangle 147">
                    <a:extLst>
                      <a:ext uri="{FF2B5EF4-FFF2-40B4-BE49-F238E27FC236}">
                        <a16:creationId xmlns:a16="http://schemas.microsoft.com/office/drawing/2014/main" id="{4345E0E9-6BC7-9504-B6E0-0CF6CD7E2C2A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9" name="Group 148">
                    <a:extLst>
                      <a:ext uri="{FF2B5EF4-FFF2-40B4-BE49-F238E27FC236}">
                        <a16:creationId xmlns:a16="http://schemas.microsoft.com/office/drawing/2014/main" id="{AA9E2721-4422-F77D-75BC-5DC660493917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50" name="Straight Connector 149">
                      <a:extLst>
                        <a:ext uri="{FF2B5EF4-FFF2-40B4-BE49-F238E27FC236}">
                          <a16:creationId xmlns:a16="http://schemas.microsoft.com/office/drawing/2014/main" id="{32E5E306-A478-244C-412E-B065B3946BD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51" name="Straight Connector 150">
                      <a:extLst>
                        <a:ext uri="{FF2B5EF4-FFF2-40B4-BE49-F238E27FC236}">
                          <a16:creationId xmlns:a16="http://schemas.microsoft.com/office/drawing/2014/main" id="{D524DB5C-FDFC-2823-304F-CDD1F3E4472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52" name="Straight Connector 151">
                      <a:extLst>
                        <a:ext uri="{FF2B5EF4-FFF2-40B4-BE49-F238E27FC236}">
                          <a16:creationId xmlns:a16="http://schemas.microsoft.com/office/drawing/2014/main" id="{9337ADCF-E8B6-3C2A-EE2B-7AC623F4E4E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136" name="Group 135">
                  <a:extLst>
                    <a:ext uri="{FF2B5EF4-FFF2-40B4-BE49-F238E27FC236}">
                      <a16:creationId xmlns:a16="http://schemas.microsoft.com/office/drawing/2014/main" id="{AE0CAFAE-1CC7-F8D2-FFC3-26927717D4D5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43" name="Rectangle 142">
                    <a:extLst>
                      <a:ext uri="{FF2B5EF4-FFF2-40B4-BE49-F238E27FC236}">
                        <a16:creationId xmlns:a16="http://schemas.microsoft.com/office/drawing/2014/main" id="{18555628-A701-AFA5-696D-EA71CB90B871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44" name="Group 143">
                    <a:extLst>
                      <a:ext uri="{FF2B5EF4-FFF2-40B4-BE49-F238E27FC236}">
                        <a16:creationId xmlns:a16="http://schemas.microsoft.com/office/drawing/2014/main" id="{31169E3B-4B4D-46F8-E8A7-82B0762664C4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45" name="Straight Connector 144">
                      <a:extLst>
                        <a:ext uri="{FF2B5EF4-FFF2-40B4-BE49-F238E27FC236}">
                          <a16:creationId xmlns:a16="http://schemas.microsoft.com/office/drawing/2014/main" id="{368BCADC-146E-089F-524A-50ADFD2D0F5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46" name="Straight Connector 145">
                      <a:extLst>
                        <a:ext uri="{FF2B5EF4-FFF2-40B4-BE49-F238E27FC236}">
                          <a16:creationId xmlns:a16="http://schemas.microsoft.com/office/drawing/2014/main" id="{658D4519-883B-4760-E4DC-0035FF7AB27E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47" name="Straight Connector 146">
                      <a:extLst>
                        <a:ext uri="{FF2B5EF4-FFF2-40B4-BE49-F238E27FC236}">
                          <a16:creationId xmlns:a16="http://schemas.microsoft.com/office/drawing/2014/main" id="{CDB6B689-F949-6829-321E-17E51FE764C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654D189A-F72F-48F6-AA4C-D82C39374618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81C797D5-1CE8-F7B7-7450-8C81602922BB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9" name="Group 138">
                    <a:extLst>
                      <a:ext uri="{FF2B5EF4-FFF2-40B4-BE49-F238E27FC236}">
                        <a16:creationId xmlns:a16="http://schemas.microsoft.com/office/drawing/2014/main" id="{2C3010F1-EB99-EC36-0276-F24777B6AE0B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40" name="Straight Connector 139">
                      <a:extLst>
                        <a:ext uri="{FF2B5EF4-FFF2-40B4-BE49-F238E27FC236}">
                          <a16:creationId xmlns:a16="http://schemas.microsoft.com/office/drawing/2014/main" id="{534FDA5C-AFA4-203F-EC33-E33B2403152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41" name="Straight Connector 140">
                      <a:extLst>
                        <a:ext uri="{FF2B5EF4-FFF2-40B4-BE49-F238E27FC236}">
                          <a16:creationId xmlns:a16="http://schemas.microsoft.com/office/drawing/2014/main" id="{C957FE5C-2018-DCFE-DCD6-28CFF4E6206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42" name="Straight Connector 141">
                      <a:extLst>
                        <a:ext uri="{FF2B5EF4-FFF2-40B4-BE49-F238E27FC236}">
                          <a16:creationId xmlns:a16="http://schemas.microsoft.com/office/drawing/2014/main" id="{BA62183F-534E-54C6-F6BC-60C4402ECA0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E72F7067-60DA-3BB0-38D5-D8501C20BD8B}"/>
                  </a:ext>
                </a:extLst>
              </p:cNvPr>
              <p:cNvGrpSpPr/>
              <p:nvPr/>
            </p:nvGrpSpPr>
            <p:grpSpPr>
              <a:xfrm>
                <a:off x="7059794" y="2498547"/>
                <a:ext cx="190868" cy="450697"/>
                <a:chOff x="6822111" y="2498547"/>
                <a:chExt cx="190868" cy="450697"/>
              </a:xfrm>
            </p:grpSpPr>
            <p:grpSp>
              <p:nvGrpSpPr>
                <p:cNvPr id="117" name="Group 116">
                  <a:extLst>
                    <a:ext uri="{FF2B5EF4-FFF2-40B4-BE49-F238E27FC236}">
                      <a16:creationId xmlns:a16="http://schemas.microsoft.com/office/drawing/2014/main" id="{14923F24-A465-7BDF-A2D3-255591B68F7A}"/>
                    </a:ext>
                  </a:extLst>
                </p:cNvPr>
                <p:cNvGrpSpPr/>
                <p:nvPr/>
              </p:nvGrpSpPr>
              <p:grpSpPr>
                <a:xfrm>
                  <a:off x="6822111" y="2498547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30" name="Rectangle 129">
                    <a:extLst>
                      <a:ext uri="{FF2B5EF4-FFF2-40B4-BE49-F238E27FC236}">
                        <a16:creationId xmlns:a16="http://schemas.microsoft.com/office/drawing/2014/main" id="{4FAE57DA-EE79-0696-135A-46CCC20196E3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31" name="Group 130">
                    <a:extLst>
                      <a:ext uri="{FF2B5EF4-FFF2-40B4-BE49-F238E27FC236}">
                        <a16:creationId xmlns:a16="http://schemas.microsoft.com/office/drawing/2014/main" id="{1FFD0E5D-61C9-85F2-82DE-384D5896F8B2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32" name="Straight Connector 131">
                      <a:extLst>
                        <a:ext uri="{FF2B5EF4-FFF2-40B4-BE49-F238E27FC236}">
                          <a16:creationId xmlns:a16="http://schemas.microsoft.com/office/drawing/2014/main" id="{7FD9B863-3091-0C7B-4F78-24366800CB7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33" name="Straight Connector 132">
                      <a:extLst>
                        <a:ext uri="{FF2B5EF4-FFF2-40B4-BE49-F238E27FC236}">
                          <a16:creationId xmlns:a16="http://schemas.microsoft.com/office/drawing/2014/main" id="{205C2C0D-EA0E-2A6E-8BDF-FF770926218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34" name="Straight Connector 133">
                      <a:extLst>
                        <a:ext uri="{FF2B5EF4-FFF2-40B4-BE49-F238E27FC236}">
                          <a16:creationId xmlns:a16="http://schemas.microsoft.com/office/drawing/2014/main" id="{25710DA3-2C99-2A21-FEF1-41EEDF00F88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118" name="Group 117">
                  <a:extLst>
                    <a:ext uri="{FF2B5EF4-FFF2-40B4-BE49-F238E27FC236}">
                      <a16:creationId xmlns:a16="http://schemas.microsoft.com/office/drawing/2014/main" id="{2FEE64C2-8B2F-1264-9539-5E19C5C42319}"/>
                    </a:ext>
                  </a:extLst>
                </p:cNvPr>
                <p:cNvGrpSpPr/>
                <p:nvPr/>
              </p:nvGrpSpPr>
              <p:grpSpPr>
                <a:xfrm>
                  <a:off x="6822111" y="2659304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25" name="Rectangle 124">
                    <a:extLst>
                      <a:ext uri="{FF2B5EF4-FFF2-40B4-BE49-F238E27FC236}">
                        <a16:creationId xmlns:a16="http://schemas.microsoft.com/office/drawing/2014/main" id="{DF448062-802B-82BD-A7B3-D01A81CD35AA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26" name="Group 125">
                    <a:extLst>
                      <a:ext uri="{FF2B5EF4-FFF2-40B4-BE49-F238E27FC236}">
                        <a16:creationId xmlns:a16="http://schemas.microsoft.com/office/drawing/2014/main" id="{3157218B-82DD-9999-55A0-0D8E1B5AA31F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27" name="Straight Connector 126">
                      <a:extLst>
                        <a:ext uri="{FF2B5EF4-FFF2-40B4-BE49-F238E27FC236}">
                          <a16:creationId xmlns:a16="http://schemas.microsoft.com/office/drawing/2014/main" id="{6D17A8F4-BB98-3F93-13BC-1213F83711F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28" name="Straight Connector 127">
                      <a:extLst>
                        <a:ext uri="{FF2B5EF4-FFF2-40B4-BE49-F238E27FC236}">
                          <a16:creationId xmlns:a16="http://schemas.microsoft.com/office/drawing/2014/main" id="{B5DCB8D6-22BD-0EB8-08BA-5751CE3B43C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29" name="Straight Connector 128">
                      <a:extLst>
                        <a:ext uri="{FF2B5EF4-FFF2-40B4-BE49-F238E27FC236}">
                          <a16:creationId xmlns:a16="http://schemas.microsoft.com/office/drawing/2014/main" id="{5B96D53B-C51C-F693-9C95-99C38CAF76F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8D997F4E-2499-7462-18C9-9C7C2D5B553C}"/>
                    </a:ext>
                  </a:extLst>
                </p:cNvPr>
                <p:cNvGrpSpPr/>
                <p:nvPr/>
              </p:nvGrpSpPr>
              <p:grpSpPr>
                <a:xfrm>
                  <a:off x="6822111" y="2820061"/>
                  <a:ext cx="190868" cy="129183"/>
                  <a:chOff x="5352205" y="2250111"/>
                  <a:chExt cx="383861" cy="224699"/>
                </a:xfrm>
              </p:grpSpPr>
              <p:sp>
                <p:nvSpPr>
                  <p:cNvPr id="120" name="Rectangle 119">
                    <a:extLst>
                      <a:ext uri="{FF2B5EF4-FFF2-40B4-BE49-F238E27FC236}">
                        <a16:creationId xmlns:a16="http://schemas.microsoft.com/office/drawing/2014/main" id="{0B901164-23DD-1A9A-0CB5-561801A9433D}"/>
                      </a:ext>
                    </a:extLst>
                  </p:cNvPr>
                  <p:cNvSpPr/>
                  <p:nvPr/>
                </p:nvSpPr>
                <p:spPr>
                  <a:xfrm>
                    <a:off x="5352205" y="2250111"/>
                    <a:ext cx="383861" cy="224699"/>
                  </a:xfrm>
                  <a:prstGeom prst="rect">
                    <a:avLst/>
                  </a:prstGeom>
                  <a:noFill/>
                  <a:ln w="12700">
                    <a:solidFill>
                      <a:srgbClr val="FF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2004" tIns="32004" rIns="32004" rtlCol="0" anchor="ctr"/>
                  <a:lstStyle/>
                  <a:p>
                    <a:pPr marL="0" marR="0" lvl="0" indent="0" algn="ctr" defTabSz="64009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6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mazon Ember Display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21" name="Group 120">
                    <a:extLst>
                      <a:ext uri="{FF2B5EF4-FFF2-40B4-BE49-F238E27FC236}">
                        <a16:creationId xmlns:a16="http://schemas.microsoft.com/office/drawing/2014/main" id="{021FBCF1-DF70-60BA-2808-F664A17B66DA}"/>
                      </a:ext>
                    </a:extLst>
                  </p:cNvPr>
                  <p:cNvGrpSpPr/>
                  <p:nvPr/>
                </p:nvGrpSpPr>
                <p:grpSpPr>
                  <a:xfrm>
                    <a:off x="5436467" y="2309509"/>
                    <a:ext cx="215337" cy="105902"/>
                    <a:chOff x="5434389" y="2315648"/>
                    <a:chExt cx="215337" cy="105902"/>
                  </a:xfrm>
                </p:grpSpPr>
                <p:cxnSp>
                  <p:nvCxnSpPr>
                    <p:cNvPr id="122" name="Straight Connector 121">
                      <a:extLst>
                        <a:ext uri="{FF2B5EF4-FFF2-40B4-BE49-F238E27FC236}">
                          <a16:creationId xmlns:a16="http://schemas.microsoft.com/office/drawing/2014/main" id="{01243EBB-D4C2-E76F-CF2C-39E4015A720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434389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23" name="Straight Connector 122">
                      <a:extLst>
                        <a:ext uri="{FF2B5EF4-FFF2-40B4-BE49-F238E27FC236}">
                          <a16:creationId xmlns:a16="http://schemas.microsoft.com/office/drawing/2014/main" id="{F23C3A2F-5D32-7512-C796-FDB3115F1EB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542058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24" name="Straight Connector 123">
                      <a:extLst>
                        <a:ext uri="{FF2B5EF4-FFF2-40B4-BE49-F238E27FC236}">
                          <a16:creationId xmlns:a16="http://schemas.microsoft.com/office/drawing/2014/main" id="{7ADBB321-C965-C90B-3C1F-F82D2780DCE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649726" y="2315648"/>
                      <a:ext cx="0" cy="105902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FF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</p:grp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B70BC27D-3F06-AA5F-EEEB-BDED28A672FB}"/>
              </a:ext>
            </a:extLst>
          </p:cNvPr>
          <p:cNvGrpSpPr/>
          <p:nvPr/>
        </p:nvGrpSpPr>
        <p:grpSpPr>
          <a:xfrm>
            <a:off x="3173085" y="3594225"/>
            <a:ext cx="450427" cy="1771123"/>
            <a:chOff x="4258957" y="3289388"/>
            <a:chExt cx="643468" cy="2530175"/>
          </a:xfrm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4091AA8D-DC62-77DE-94DD-3AAED821863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3289388"/>
              <a:ext cx="643468" cy="640080"/>
              <a:chOff x="13218864" y="4602149"/>
              <a:chExt cx="1004021" cy="998734"/>
            </a:xfrm>
          </p:grpSpPr>
          <p:sp>
            <p:nvSpPr>
              <p:cNvPr id="199" name="Graphic 166">
                <a:extLst>
                  <a:ext uri="{FF2B5EF4-FFF2-40B4-BE49-F238E27FC236}">
                    <a16:creationId xmlns:a16="http://schemas.microsoft.com/office/drawing/2014/main" id="{71A8CFDD-0506-3AA3-3516-A2959BB0701C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0" name="Graphic 166">
                <a:extLst>
                  <a:ext uri="{FF2B5EF4-FFF2-40B4-BE49-F238E27FC236}">
                    <a16:creationId xmlns:a16="http://schemas.microsoft.com/office/drawing/2014/main" id="{E7E54A6E-1BA2-400B-F9D2-5B75437B7EFE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1" name="Graphic 166">
                <a:extLst>
                  <a:ext uri="{FF2B5EF4-FFF2-40B4-BE49-F238E27FC236}">
                    <a16:creationId xmlns:a16="http://schemas.microsoft.com/office/drawing/2014/main" id="{C7F79E94-0D49-2075-9A4F-1B4F39F3E0BA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2" name="Graphic 166">
                <a:extLst>
                  <a:ext uri="{FF2B5EF4-FFF2-40B4-BE49-F238E27FC236}">
                    <a16:creationId xmlns:a16="http://schemas.microsoft.com/office/drawing/2014/main" id="{B9941EC8-A7FA-63EC-97B3-1769370925AF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3" name="Graphic 166">
                <a:extLst>
                  <a:ext uri="{FF2B5EF4-FFF2-40B4-BE49-F238E27FC236}">
                    <a16:creationId xmlns:a16="http://schemas.microsoft.com/office/drawing/2014/main" id="{21C297C6-E9AD-9160-D53F-15EF339FBABF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4" name="Graphic 166">
                <a:extLst>
                  <a:ext uri="{FF2B5EF4-FFF2-40B4-BE49-F238E27FC236}">
                    <a16:creationId xmlns:a16="http://schemas.microsoft.com/office/drawing/2014/main" id="{A71FA3AC-68EB-6ACB-4E74-937CD35C2F69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5" name="Graphic 166">
                <a:extLst>
                  <a:ext uri="{FF2B5EF4-FFF2-40B4-BE49-F238E27FC236}">
                    <a16:creationId xmlns:a16="http://schemas.microsoft.com/office/drawing/2014/main" id="{7F26DFA2-A3AE-03C7-AC60-4842030EBE64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6" name="Graphic 166">
                <a:extLst>
                  <a:ext uri="{FF2B5EF4-FFF2-40B4-BE49-F238E27FC236}">
                    <a16:creationId xmlns:a16="http://schemas.microsoft.com/office/drawing/2014/main" id="{FE57CA4F-12B2-DDF6-8BC4-19938AF81A14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7" name="Graphic 166">
                <a:extLst>
                  <a:ext uri="{FF2B5EF4-FFF2-40B4-BE49-F238E27FC236}">
                    <a16:creationId xmlns:a16="http://schemas.microsoft.com/office/drawing/2014/main" id="{C5A520DB-E6EF-19B7-1395-A63DB7457659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8" name="Graphic 166">
                <a:extLst>
                  <a:ext uri="{FF2B5EF4-FFF2-40B4-BE49-F238E27FC236}">
                    <a16:creationId xmlns:a16="http://schemas.microsoft.com/office/drawing/2014/main" id="{FD9D1B3B-B507-D8FC-A334-8D724097DCA1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09" name="Graphic 166">
                <a:extLst>
                  <a:ext uri="{FF2B5EF4-FFF2-40B4-BE49-F238E27FC236}">
                    <a16:creationId xmlns:a16="http://schemas.microsoft.com/office/drawing/2014/main" id="{701AD313-DD54-0584-7C06-D5ECA6A6D64D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0" name="Graphic 166">
                <a:extLst>
                  <a:ext uri="{FF2B5EF4-FFF2-40B4-BE49-F238E27FC236}">
                    <a16:creationId xmlns:a16="http://schemas.microsoft.com/office/drawing/2014/main" id="{006E12CA-8146-F577-F817-EC9AA503806A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1" name="Graphic 166">
                <a:extLst>
                  <a:ext uri="{FF2B5EF4-FFF2-40B4-BE49-F238E27FC236}">
                    <a16:creationId xmlns:a16="http://schemas.microsoft.com/office/drawing/2014/main" id="{6C81BDE6-A534-B06B-AF10-9A8B5728A874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2" name="Graphic 166">
                <a:extLst>
                  <a:ext uri="{FF2B5EF4-FFF2-40B4-BE49-F238E27FC236}">
                    <a16:creationId xmlns:a16="http://schemas.microsoft.com/office/drawing/2014/main" id="{4844B1B5-A7EB-F630-BDFB-55A00F720C41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3" name="Graphic 166">
                <a:extLst>
                  <a:ext uri="{FF2B5EF4-FFF2-40B4-BE49-F238E27FC236}">
                    <a16:creationId xmlns:a16="http://schemas.microsoft.com/office/drawing/2014/main" id="{A7E8401B-402A-3770-5310-13358ADF45C7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4" name="Graphic 166">
                <a:extLst>
                  <a:ext uri="{FF2B5EF4-FFF2-40B4-BE49-F238E27FC236}">
                    <a16:creationId xmlns:a16="http://schemas.microsoft.com/office/drawing/2014/main" id="{7EB497EA-E974-E9DC-DDF2-46CAADC06929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5" name="Graphic 166">
                <a:extLst>
                  <a:ext uri="{FF2B5EF4-FFF2-40B4-BE49-F238E27FC236}">
                    <a16:creationId xmlns:a16="http://schemas.microsoft.com/office/drawing/2014/main" id="{B8980D2E-672A-BE43-30E7-6CEE72219D6D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6" name="Graphic 166">
                <a:extLst>
                  <a:ext uri="{FF2B5EF4-FFF2-40B4-BE49-F238E27FC236}">
                    <a16:creationId xmlns:a16="http://schemas.microsoft.com/office/drawing/2014/main" id="{3633AB7A-1A42-772D-0A61-25D2736A6CC2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7" name="Graphic 166">
                <a:extLst>
                  <a:ext uri="{FF2B5EF4-FFF2-40B4-BE49-F238E27FC236}">
                    <a16:creationId xmlns:a16="http://schemas.microsoft.com/office/drawing/2014/main" id="{82ED9406-746B-ACAC-E170-93D3025E0045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8" name="Graphic 166">
                <a:extLst>
                  <a:ext uri="{FF2B5EF4-FFF2-40B4-BE49-F238E27FC236}">
                    <a16:creationId xmlns:a16="http://schemas.microsoft.com/office/drawing/2014/main" id="{AA0A8C24-A702-4C75-6E80-628AFDD58334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19" name="Graphic 166">
                <a:extLst>
                  <a:ext uri="{FF2B5EF4-FFF2-40B4-BE49-F238E27FC236}">
                    <a16:creationId xmlns:a16="http://schemas.microsoft.com/office/drawing/2014/main" id="{100B699A-0B0C-5BAA-9846-C9C7808351C5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5CD81AC1-E757-F34A-F5AF-5A0B227145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4234436"/>
              <a:ext cx="643468" cy="640080"/>
              <a:chOff x="13218864" y="4602149"/>
              <a:chExt cx="1004021" cy="998734"/>
            </a:xfrm>
          </p:grpSpPr>
          <p:sp>
            <p:nvSpPr>
              <p:cNvPr id="178" name="Graphic 166">
                <a:extLst>
                  <a:ext uri="{FF2B5EF4-FFF2-40B4-BE49-F238E27FC236}">
                    <a16:creationId xmlns:a16="http://schemas.microsoft.com/office/drawing/2014/main" id="{B437E684-50F0-34E5-BC40-B5C31ACAFE7D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9" name="Graphic 166">
                <a:extLst>
                  <a:ext uri="{FF2B5EF4-FFF2-40B4-BE49-F238E27FC236}">
                    <a16:creationId xmlns:a16="http://schemas.microsoft.com/office/drawing/2014/main" id="{C952D4CA-9C35-749B-C872-4D82726EAD7E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0" name="Graphic 166">
                <a:extLst>
                  <a:ext uri="{FF2B5EF4-FFF2-40B4-BE49-F238E27FC236}">
                    <a16:creationId xmlns:a16="http://schemas.microsoft.com/office/drawing/2014/main" id="{237ADA0C-4A37-0A60-BFED-007878467D00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1" name="Graphic 166">
                <a:extLst>
                  <a:ext uri="{FF2B5EF4-FFF2-40B4-BE49-F238E27FC236}">
                    <a16:creationId xmlns:a16="http://schemas.microsoft.com/office/drawing/2014/main" id="{FEDD95AB-9B11-4432-24BD-6EF622B6D53B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2" name="Graphic 166">
                <a:extLst>
                  <a:ext uri="{FF2B5EF4-FFF2-40B4-BE49-F238E27FC236}">
                    <a16:creationId xmlns:a16="http://schemas.microsoft.com/office/drawing/2014/main" id="{193BF5AD-4CE9-2008-0629-DF3CDD52DC4D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3" name="Graphic 166">
                <a:extLst>
                  <a:ext uri="{FF2B5EF4-FFF2-40B4-BE49-F238E27FC236}">
                    <a16:creationId xmlns:a16="http://schemas.microsoft.com/office/drawing/2014/main" id="{F46A3201-571B-40C3-1466-B24978DB7905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4" name="Graphic 166">
                <a:extLst>
                  <a:ext uri="{FF2B5EF4-FFF2-40B4-BE49-F238E27FC236}">
                    <a16:creationId xmlns:a16="http://schemas.microsoft.com/office/drawing/2014/main" id="{7FF8615F-728F-CE2D-98B6-38E0B544826F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5" name="Graphic 166">
                <a:extLst>
                  <a:ext uri="{FF2B5EF4-FFF2-40B4-BE49-F238E27FC236}">
                    <a16:creationId xmlns:a16="http://schemas.microsoft.com/office/drawing/2014/main" id="{B14D06DB-5F9D-33C0-AC39-73AAD3A633FC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6" name="Graphic 166">
                <a:extLst>
                  <a:ext uri="{FF2B5EF4-FFF2-40B4-BE49-F238E27FC236}">
                    <a16:creationId xmlns:a16="http://schemas.microsoft.com/office/drawing/2014/main" id="{42B53A78-C380-052C-0502-65BD79B3A14D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7" name="Graphic 166">
                <a:extLst>
                  <a:ext uri="{FF2B5EF4-FFF2-40B4-BE49-F238E27FC236}">
                    <a16:creationId xmlns:a16="http://schemas.microsoft.com/office/drawing/2014/main" id="{F38100B3-D256-EE98-BFB7-5C43CFF100A1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8" name="Graphic 166">
                <a:extLst>
                  <a:ext uri="{FF2B5EF4-FFF2-40B4-BE49-F238E27FC236}">
                    <a16:creationId xmlns:a16="http://schemas.microsoft.com/office/drawing/2014/main" id="{17DFCBF3-E633-8736-893D-A17AAFBEF889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89" name="Graphic 166">
                <a:extLst>
                  <a:ext uri="{FF2B5EF4-FFF2-40B4-BE49-F238E27FC236}">
                    <a16:creationId xmlns:a16="http://schemas.microsoft.com/office/drawing/2014/main" id="{604F08C3-BF53-A5D8-0226-EE6DE89509AE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0" name="Graphic 166">
                <a:extLst>
                  <a:ext uri="{FF2B5EF4-FFF2-40B4-BE49-F238E27FC236}">
                    <a16:creationId xmlns:a16="http://schemas.microsoft.com/office/drawing/2014/main" id="{E42D1782-E75B-78F3-CD2A-A8F9323A833D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1" name="Graphic 166">
                <a:extLst>
                  <a:ext uri="{FF2B5EF4-FFF2-40B4-BE49-F238E27FC236}">
                    <a16:creationId xmlns:a16="http://schemas.microsoft.com/office/drawing/2014/main" id="{AFF9ACF3-0F4D-2971-6F4F-849585DFE147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2" name="Graphic 166">
                <a:extLst>
                  <a:ext uri="{FF2B5EF4-FFF2-40B4-BE49-F238E27FC236}">
                    <a16:creationId xmlns:a16="http://schemas.microsoft.com/office/drawing/2014/main" id="{C2B0F9A8-BBF2-8722-0693-7AC41E01EF38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3" name="Graphic 166">
                <a:extLst>
                  <a:ext uri="{FF2B5EF4-FFF2-40B4-BE49-F238E27FC236}">
                    <a16:creationId xmlns:a16="http://schemas.microsoft.com/office/drawing/2014/main" id="{B3C0A20B-D22E-D94B-88D9-57B1011ABE5A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4" name="Graphic 166">
                <a:extLst>
                  <a:ext uri="{FF2B5EF4-FFF2-40B4-BE49-F238E27FC236}">
                    <a16:creationId xmlns:a16="http://schemas.microsoft.com/office/drawing/2014/main" id="{D8BAEA79-7400-11FB-4F88-53C876B7B121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5" name="Graphic 166">
                <a:extLst>
                  <a:ext uri="{FF2B5EF4-FFF2-40B4-BE49-F238E27FC236}">
                    <a16:creationId xmlns:a16="http://schemas.microsoft.com/office/drawing/2014/main" id="{39CDC163-0ED2-AE28-FD3A-1FB50A9F374B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6" name="Graphic 166">
                <a:extLst>
                  <a:ext uri="{FF2B5EF4-FFF2-40B4-BE49-F238E27FC236}">
                    <a16:creationId xmlns:a16="http://schemas.microsoft.com/office/drawing/2014/main" id="{8B85B1F7-A0DB-40A0-0E7A-5EC145ADE3D2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7" name="Graphic 166">
                <a:extLst>
                  <a:ext uri="{FF2B5EF4-FFF2-40B4-BE49-F238E27FC236}">
                    <a16:creationId xmlns:a16="http://schemas.microsoft.com/office/drawing/2014/main" id="{FBC5DA88-CED3-86C9-A205-C1B40FA70F1C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98" name="Graphic 166">
                <a:extLst>
                  <a:ext uri="{FF2B5EF4-FFF2-40B4-BE49-F238E27FC236}">
                    <a16:creationId xmlns:a16="http://schemas.microsoft.com/office/drawing/2014/main" id="{2524FFC7-8AFA-3DB7-87F8-E9CA90CC4BA3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124274B2-62B5-FA9C-7AB2-1642E5A7477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5179483"/>
              <a:ext cx="643468" cy="640080"/>
              <a:chOff x="13218864" y="4602149"/>
              <a:chExt cx="1004021" cy="998734"/>
            </a:xfrm>
          </p:grpSpPr>
          <p:sp>
            <p:nvSpPr>
              <p:cNvPr id="157" name="Graphic 166">
                <a:extLst>
                  <a:ext uri="{FF2B5EF4-FFF2-40B4-BE49-F238E27FC236}">
                    <a16:creationId xmlns:a16="http://schemas.microsoft.com/office/drawing/2014/main" id="{A09632C5-F98B-3201-62E8-849A2C69B605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58" name="Graphic 166">
                <a:extLst>
                  <a:ext uri="{FF2B5EF4-FFF2-40B4-BE49-F238E27FC236}">
                    <a16:creationId xmlns:a16="http://schemas.microsoft.com/office/drawing/2014/main" id="{9724B4FE-6822-B2C8-6CC4-5844C9D7F770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59" name="Graphic 166">
                <a:extLst>
                  <a:ext uri="{FF2B5EF4-FFF2-40B4-BE49-F238E27FC236}">
                    <a16:creationId xmlns:a16="http://schemas.microsoft.com/office/drawing/2014/main" id="{1CB55326-B2DE-31FC-18FB-E229B16AEF54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0" name="Graphic 166">
                <a:extLst>
                  <a:ext uri="{FF2B5EF4-FFF2-40B4-BE49-F238E27FC236}">
                    <a16:creationId xmlns:a16="http://schemas.microsoft.com/office/drawing/2014/main" id="{B2A69513-0129-7FC7-D82D-CA592B7B9CCA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1" name="Graphic 166">
                <a:extLst>
                  <a:ext uri="{FF2B5EF4-FFF2-40B4-BE49-F238E27FC236}">
                    <a16:creationId xmlns:a16="http://schemas.microsoft.com/office/drawing/2014/main" id="{663B966C-A9A0-6EB3-4DFE-D581778C12E0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2" name="Graphic 166">
                <a:extLst>
                  <a:ext uri="{FF2B5EF4-FFF2-40B4-BE49-F238E27FC236}">
                    <a16:creationId xmlns:a16="http://schemas.microsoft.com/office/drawing/2014/main" id="{43226840-DFE1-C0F1-71D2-A75AFF7003E0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3" name="Graphic 166">
                <a:extLst>
                  <a:ext uri="{FF2B5EF4-FFF2-40B4-BE49-F238E27FC236}">
                    <a16:creationId xmlns:a16="http://schemas.microsoft.com/office/drawing/2014/main" id="{781CC651-CB06-9748-67C6-3D6CC0E19980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4" name="Graphic 166">
                <a:extLst>
                  <a:ext uri="{FF2B5EF4-FFF2-40B4-BE49-F238E27FC236}">
                    <a16:creationId xmlns:a16="http://schemas.microsoft.com/office/drawing/2014/main" id="{D963C42F-46D6-B7A9-015E-02B2D96BD52B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5" name="Graphic 166">
                <a:extLst>
                  <a:ext uri="{FF2B5EF4-FFF2-40B4-BE49-F238E27FC236}">
                    <a16:creationId xmlns:a16="http://schemas.microsoft.com/office/drawing/2014/main" id="{EF15D6BC-2A05-D657-A3B6-D8553BD2D02D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6" name="Graphic 166">
                <a:extLst>
                  <a:ext uri="{FF2B5EF4-FFF2-40B4-BE49-F238E27FC236}">
                    <a16:creationId xmlns:a16="http://schemas.microsoft.com/office/drawing/2014/main" id="{A3F97CC3-B43E-0907-75A9-0CC5CC32E50B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7" name="Graphic 166">
                <a:extLst>
                  <a:ext uri="{FF2B5EF4-FFF2-40B4-BE49-F238E27FC236}">
                    <a16:creationId xmlns:a16="http://schemas.microsoft.com/office/drawing/2014/main" id="{A83DDEA4-BC33-FE17-0CA5-F1A70FD15C8A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8" name="Graphic 166">
                <a:extLst>
                  <a:ext uri="{FF2B5EF4-FFF2-40B4-BE49-F238E27FC236}">
                    <a16:creationId xmlns:a16="http://schemas.microsoft.com/office/drawing/2014/main" id="{80A8149E-E94F-9E5A-E717-382EF61FACF8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69" name="Graphic 166">
                <a:extLst>
                  <a:ext uri="{FF2B5EF4-FFF2-40B4-BE49-F238E27FC236}">
                    <a16:creationId xmlns:a16="http://schemas.microsoft.com/office/drawing/2014/main" id="{EAA610CB-D2D3-E4D1-50EC-1F085C64E3BB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0" name="Graphic 166">
                <a:extLst>
                  <a:ext uri="{FF2B5EF4-FFF2-40B4-BE49-F238E27FC236}">
                    <a16:creationId xmlns:a16="http://schemas.microsoft.com/office/drawing/2014/main" id="{1970C516-B7F5-F0BB-83BF-8BFAD68CA2D2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1" name="Graphic 166">
                <a:extLst>
                  <a:ext uri="{FF2B5EF4-FFF2-40B4-BE49-F238E27FC236}">
                    <a16:creationId xmlns:a16="http://schemas.microsoft.com/office/drawing/2014/main" id="{737FF43C-1BE3-FA35-664B-72419B63331B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2" name="Graphic 166">
                <a:extLst>
                  <a:ext uri="{FF2B5EF4-FFF2-40B4-BE49-F238E27FC236}">
                    <a16:creationId xmlns:a16="http://schemas.microsoft.com/office/drawing/2014/main" id="{A2340110-3881-E586-9208-F7A29FA12341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3" name="Graphic 166">
                <a:extLst>
                  <a:ext uri="{FF2B5EF4-FFF2-40B4-BE49-F238E27FC236}">
                    <a16:creationId xmlns:a16="http://schemas.microsoft.com/office/drawing/2014/main" id="{CF56DBD8-7087-3FA9-12A0-B5C0FD8E0DF6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4" name="Graphic 166">
                <a:extLst>
                  <a:ext uri="{FF2B5EF4-FFF2-40B4-BE49-F238E27FC236}">
                    <a16:creationId xmlns:a16="http://schemas.microsoft.com/office/drawing/2014/main" id="{BEB766F0-8BE4-CEEE-4670-D803AF7E5145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5" name="Graphic 166">
                <a:extLst>
                  <a:ext uri="{FF2B5EF4-FFF2-40B4-BE49-F238E27FC236}">
                    <a16:creationId xmlns:a16="http://schemas.microsoft.com/office/drawing/2014/main" id="{50064E03-BED5-CFE5-3307-CEF01167F7A3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6" name="Graphic 166">
                <a:extLst>
                  <a:ext uri="{FF2B5EF4-FFF2-40B4-BE49-F238E27FC236}">
                    <a16:creationId xmlns:a16="http://schemas.microsoft.com/office/drawing/2014/main" id="{1AA4F194-EE5C-7FDF-0627-461A78E6CC97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177" name="Graphic 166">
                <a:extLst>
                  <a:ext uri="{FF2B5EF4-FFF2-40B4-BE49-F238E27FC236}">
                    <a16:creationId xmlns:a16="http://schemas.microsoft.com/office/drawing/2014/main" id="{4AFEB556-3B81-55D2-1E99-87D0EF8F976B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C5BB91F0-520B-6615-41D9-33F5A66B2D3F}"/>
              </a:ext>
            </a:extLst>
          </p:cNvPr>
          <p:cNvGrpSpPr/>
          <p:nvPr/>
        </p:nvGrpSpPr>
        <p:grpSpPr>
          <a:xfrm>
            <a:off x="4031484" y="3594225"/>
            <a:ext cx="450427" cy="1771123"/>
            <a:chOff x="4258957" y="3289388"/>
            <a:chExt cx="643468" cy="2530175"/>
          </a:xfrm>
        </p:grpSpPr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B7A3558-BBC0-4001-5729-1AAC77E5E1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3289388"/>
              <a:ext cx="643468" cy="640080"/>
              <a:chOff x="13218864" y="4602149"/>
              <a:chExt cx="1004021" cy="998734"/>
            </a:xfrm>
          </p:grpSpPr>
          <p:sp>
            <p:nvSpPr>
              <p:cNvPr id="266" name="Graphic 166">
                <a:extLst>
                  <a:ext uri="{FF2B5EF4-FFF2-40B4-BE49-F238E27FC236}">
                    <a16:creationId xmlns:a16="http://schemas.microsoft.com/office/drawing/2014/main" id="{171655E8-EA49-F7AC-26A8-8050560B42D6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7" name="Graphic 166">
                <a:extLst>
                  <a:ext uri="{FF2B5EF4-FFF2-40B4-BE49-F238E27FC236}">
                    <a16:creationId xmlns:a16="http://schemas.microsoft.com/office/drawing/2014/main" id="{1EC9E509-9379-D401-6120-5BC140870460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8" name="Graphic 166">
                <a:extLst>
                  <a:ext uri="{FF2B5EF4-FFF2-40B4-BE49-F238E27FC236}">
                    <a16:creationId xmlns:a16="http://schemas.microsoft.com/office/drawing/2014/main" id="{EB46EFEE-F952-BC8C-A968-96495EC69053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9" name="Graphic 166">
                <a:extLst>
                  <a:ext uri="{FF2B5EF4-FFF2-40B4-BE49-F238E27FC236}">
                    <a16:creationId xmlns:a16="http://schemas.microsoft.com/office/drawing/2014/main" id="{CC86BAB7-970E-3C68-D414-6BCB89F35FDB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0" name="Graphic 166">
                <a:extLst>
                  <a:ext uri="{FF2B5EF4-FFF2-40B4-BE49-F238E27FC236}">
                    <a16:creationId xmlns:a16="http://schemas.microsoft.com/office/drawing/2014/main" id="{CEBBD604-C5FA-7640-0F20-28B9241814D0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1" name="Graphic 166">
                <a:extLst>
                  <a:ext uri="{FF2B5EF4-FFF2-40B4-BE49-F238E27FC236}">
                    <a16:creationId xmlns:a16="http://schemas.microsoft.com/office/drawing/2014/main" id="{A8478AF4-5E7C-35EB-630B-B8D9CFA5A8A4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2" name="Graphic 166">
                <a:extLst>
                  <a:ext uri="{FF2B5EF4-FFF2-40B4-BE49-F238E27FC236}">
                    <a16:creationId xmlns:a16="http://schemas.microsoft.com/office/drawing/2014/main" id="{DE51BF40-89F9-FC6A-D340-81A042729F37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3" name="Graphic 166">
                <a:extLst>
                  <a:ext uri="{FF2B5EF4-FFF2-40B4-BE49-F238E27FC236}">
                    <a16:creationId xmlns:a16="http://schemas.microsoft.com/office/drawing/2014/main" id="{4C55E3C4-C0F6-E88F-949B-98D9065399F8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4" name="Graphic 166">
                <a:extLst>
                  <a:ext uri="{FF2B5EF4-FFF2-40B4-BE49-F238E27FC236}">
                    <a16:creationId xmlns:a16="http://schemas.microsoft.com/office/drawing/2014/main" id="{39C2AB87-2638-2587-6BE3-31E08AB4ED98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5" name="Graphic 166">
                <a:extLst>
                  <a:ext uri="{FF2B5EF4-FFF2-40B4-BE49-F238E27FC236}">
                    <a16:creationId xmlns:a16="http://schemas.microsoft.com/office/drawing/2014/main" id="{BDEFB974-FA88-6B87-99BB-967D8EDADF16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6" name="Graphic 166">
                <a:extLst>
                  <a:ext uri="{FF2B5EF4-FFF2-40B4-BE49-F238E27FC236}">
                    <a16:creationId xmlns:a16="http://schemas.microsoft.com/office/drawing/2014/main" id="{BA4B4FCE-77CF-CDE3-9AE6-0377ABF9D7B5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7" name="Graphic 166">
                <a:extLst>
                  <a:ext uri="{FF2B5EF4-FFF2-40B4-BE49-F238E27FC236}">
                    <a16:creationId xmlns:a16="http://schemas.microsoft.com/office/drawing/2014/main" id="{137E4498-EF15-724A-E8B1-4D4E55E20427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8" name="Graphic 166">
                <a:extLst>
                  <a:ext uri="{FF2B5EF4-FFF2-40B4-BE49-F238E27FC236}">
                    <a16:creationId xmlns:a16="http://schemas.microsoft.com/office/drawing/2014/main" id="{4A0BB2DC-D5C6-83B7-56D3-F1A12968F5B7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79" name="Graphic 166">
                <a:extLst>
                  <a:ext uri="{FF2B5EF4-FFF2-40B4-BE49-F238E27FC236}">
                    <a16:creationId xmlns:a16="http://schemas.microsoft.com/office/drawing/2014/main" id="{812F2BE4-059C-E063-32DD-044C542E6634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0" name="Graphic 166">
                <a:extLst>
                  <a:ext uri="{FF2B5EF4-FFF2-40B4-BE49-F238E27FC236}">
                    <a16:creationId xmlns:a16="http://schemas.microsoft.com/office/drawing/2014/main" id="{150D7ED7-7FA7-4301-A170-D3B259A6BB49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1" name="Graphic 166">
                <a:extLst>
                  <a:ext uri="{FF2B5EF4-FFF2-40B4-BE49-F238E27FC236}">
                    <a16:creationId xmlns:a16="http://schemas.microsoft.com/office/drawing/2014/main" id="{ECE4BF2B-E92E-AF24-F355-5444CA7C875B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2" name="Graphic 166">
                <a:extLst>
                  <a:ext uri="{FF2B5EF4-FFF2-40B4-BE49-F238E27FC236}">
                    <a16:creationId xmlns:a16="http://schemas.microsoft.com/office/drawing/2014/main" id="{6A84DB87-1894-2A0C-B8B8-516B1C200663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3" name="Graphic 166">
                <a:extLst>
                  <a:ext uri="{FF2B5EF4-FFF2-40B4-BE49-F238E27FC236}">
                    <a16:creationId xmlns:a16="http://schemas.microsoft.com/office/drawing/2014/main" id="{009B15FA-EF5D-51B8-0E4A-A83CFEFDA2FE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4" name="Graphic 166">
                <a:extLst>
                  <a:ext uri="{FF2B5EF4-FFF2-40B4-BE49-F238E27FC236}">
                    <a16:creationId xmlns:a16="http://schemas.microsoft.com/office/drawing/2014/main" id="{19E60DC1-C474-38F6-4BFB-7DDE2408B83D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5" name="Graphic 166">
                <a:extLst>
                  <a:ext uri="{FF2B5EF4-FFF2-40B4-BE49-F238E27FC236}">
                    <a16:creationId xmlns:a16="http://schemas.microsoft.com/office/drawing/2014/main" id="{7A35FB5B-8D6C-8437-817E-57A86FC6E37F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86" name="Graphic 166">
                <a:extLst>
                  <a:ext uri="{FF2B5EF4-FFF2-40B4-BE49-F238E27FC236}">
                    <a16:creationId xmlns:a16="http://schemas.microsoft.com/office/drawing/2014/main" id="{64E0286D-CC83-E47E-75A9-AA8E90F87BAE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7D6FBED9-D003-5EE5-C1E6-4B12DABC42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4234436"/>
              <a:ext cx="643468" cy="640080"/>
              <a:chOff x="13218864" y="4602149"/>
              <a:chExt cx="1004021" cy="998734"/>
            </a:xfrm>
          </p:grpSpPr>
          <p:sp>
            <p:nvSpPr>
              <p:cNvPr id="245" name="Graphic 166">
                <a:extLst>
                  <a:ext uri="{FF2B5EF4-FFF2-40B4-BE49-F238E27FC236}">
                    <a16:creationId xmlns:a16="http://schemas.microsoft.com/office/drawing/2014/main" id="{016913BD-859B-5BE0-4008-F02ED83968B7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6" name="Graphic 166">
                <a:extLst>
                  <a:ext uri="{FF2B5EF4-FFF2-40B4-BE49-F238E27FC236}">
                    <a16:creationId xmlns:a16="http://schemas.microsoft.com/office/drawing/2014/main" id="{E7FAF3BB-DB33-85E2-6828-E3AA253C9519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7" name="Graphic 166">
                <a:extLst>
                  <a:ext uri="{FF2B5EF4-FFF2-40B4-BE49-F238E27FC236}">
                    <a16:creationId xmlns:a16="http://schemas.microsoft.com/office/drawing/2014/main" id="{907B56F4-3D1F-53A0-F305-CD774677B35D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8" name="Graphic 166">
                <a:extLst>
                  <a:ext uri="{FF2B5EF4-FFF2-40B4-BE49-F238E27FC236}">
                    <a16:creationId xmlns:a16="http://schemas.microsoft.com/office/drawing/2014/main" id="{70656B65-2DFA-F7A9-5825-411BD6DB920F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9" name="Graphic 166">
                <a:extLst>
                  <a:ext uri="{FF2B5EF4-FFF2-40B4-BE49-F238E27FC236}">
                    <a16:creationId xmlns:a16="http://schemas.microsoft.com/office/drawing/2014/main" id="{DC563A6B-D7B1-EAFA-50D9-4EB97285E8CE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0" name="Graphic 166">
                <a:extLst>
                  <a:ext uri="{FF2B5EF4-FFF2-40B4-BE49-F238E27FC236}">
                    <a16:creationId xmlns:a16="http://schemas.microsoft.com/office/drawing/2014/main" id="{96DDDCFC-07D3-FCF2-FF90-1BF44559FDA9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1" name="Graphic 166">
                <a:extLst>
                  <a:ext uri="{FF2B5EF4-FFF2-40B4-BE49-F238E27FC236}">
                    <a16:creationId xmlns:a16="http://schemas.microsoft.com/office/drawing/2014/main" id="{968A6C8A-34A5-4EEC-4FBD-43370D4D8965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2" name="Graphic 166">
                <a:extLst>
                  <a:ext uri="{FF2B5EF4-FFF2-40B4-BE49-F238E27FC236}">
                    <a16:creationId xmlns:a16="http://schemas.microsoft.com/office/drawing/2014/main" id="{F86D6180-2F58-6D37-5D35-BA853F8D34E7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3" name="Graphic 166">
                <a:extLst>
                  <a:ext uri="{FF2B5EF4-FFF2-40B4-BE49-F238E27FC236}">
                    <a16:creationId xmlns:a16="http://schemas.microsoft.com/office/drawing/2014/main" id="{224594E0-5035-0DEB-89D5-1724A106AA1B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4" name="Graphic 166">
                <a:extLst>
                  <a:ext uri="{FF2B5EF4-FFF2-40B4-BE49-F238E27FC236}">
                    <a16:creationId xmlns:a16="http://schemas.microsoft.com/office/drawing/2014/main" id="{14620CB3-339E-4DC1-89BC-D880B075ECDD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5" name="Graphic 166">
                <a:extLst>
                  <a:ext uri="{FF2B5EF4-FFF2-40B4-BE49-F238E27FC236}">
                    <a16:creationId xmlns:a16="http://schemas.microsoft.com/office/drawing/2014/main" id="{8BCB872E-C4C5-0687-3E7E-ECC7DDD6C684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6" name="Graphic 166">
                <a:extLst>
                  <a:ext uri="{FF2B5EF4-FFF2-40B4-BE49-F238E27FC236}">
                    <a16:creationId xmlns:a16="http://schemas.microsoft.com/office/drawing/2014/main" id="{F2C0FA23-2D1C-1653-9C2A-34CF5DB8B53A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7" name="Graphic 166">
                <a:extLst>
                  <a:ext uri="{FF2B5EF4-FFF2-40B4-BE49-F238E27FC236}">
                    <a16:creationId xmlns:a16="http://schemas.microsoft.com/office/drawing/2014/main" id="{C5893D4E-A53D-73E0-173F-0942512C9893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8" name="Graphic 166">
                <a:extLst>
                  <a:ext uri="{FF2B5EF4-FFF2-40B4-BE49-F238E27FC236}">
                    <a16:creationId xmlns:a16="http://schemas.microsoft.com/office/drawing/2014/main" id="{4C6A4C77-CFEA-E7C4-F698-D60CD00EC467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59" name="Graphic 166">
                <a:extLst>
                  <a:ext uri="{FF2B5EF4-FFF2-40B4-BE49-F238E27FC236}">
                    <a16:creationId xmlns:a16="http://schemas.microsoft.com/office/drawing/2014/main" id="{9AF4E48C-3738-F6FA-EF39-D13E1191EFC5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0" name="Graphic 166">
                <a:extLst>
                  <a:ext uri="{FF2B5EF4-FFF2-40B4-BE49-F238E27FC236}">
                    <a16:creationId xmlns:a16="http://schemas.microsoft.com/office/drawing/2014/main" id="{B64204CF-7819-3A0A-487B-E3EB970FE434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1" name="Graphic 166">
                <a:extLst>
                  <a:ext uri="{FF2B5EF4-FFF2-40B4-BE49-F238E27FC236}">
                    <a16:creationId xmlns:a16="http://schemas.microsoft.com/office/drawing/2014/main" id="{395F141C-A53B-B1DE-B28F-85F592A06F45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2" name="Graphic 166">
                <a:extLst>
                  <a:ext uri="{FF2B5EF4-FFF2-40B4-BE49-F238E27FC236}">
                    <a16:creationId xmlns:a16="http://schemas.microsoft.com/office/drawing/2014/main" id="{11241725-0CDE-BCF2-A831-DDB60EE3EF57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3" name="Graphic 166">
                <a:extLst>
                  <a:ext uri="{FF2B5EF4-FFF2-40B4-BE49-F238E27FC236}">
                    <a16:creationId xmlns:a16="http://schemas.microsoft.com/office/drawing/2014/main" id="{357D4ABD-8DA9-049B-4D6F-33D687196B57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4" name="Graphic 166">
                <a:extLst>
                  <a:ext uri="{FF2B5EF4-FFF2-40B4-BE49-F238E27FC236}">
                    <a16:creationId xmlns:a16="http://schemas.microsoft.com/office/drawing/2014/main" id="{7332B091-726B-E52F-DBA0-24FC8A292DFA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65" name="Graphic 166">
                <a:extLst>
                  <a:ext uri="{FF2B5EF4-FFF2-40B4-BE49-F238E27FC236}">
                    <a16:creationId xmlns:a16="http://schemas.microsoft.com/office/drawing/2014/main" id="{26716DEC-82B6-6B32-CD5E-14A57D7D91CB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96F2D4CE-706D-1624-DA5E-8EB417409D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5179483"/>
              <a:ext cx="643468" cy="640080"/>
              <a:chOff x="13218864" y="4602149"/>
              <a:chExt cx="1004021" cy="998734"/>
            </a:xfrm>
          </p:grpSpPr>
          <p:sp>
            <p:nvSpPr>
              <p:cNvPr id="224" name="Graphic 166">
                <a:extLst>
                  <a:ext uri="{FF2B5EF4-FFF2-40B4-BE49-F238E27FC236}">
                    <a16:creationId xmlns:a16="http://schemas.microsoft.com/office/drawing/2014/main" id="{8A655078-D856-C58C-50CC-F8943E85ACCC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25" name="Graphic 166">
                <a:extLst>
                  <a:ext uri="{FF2B5EF4-FFF2-40B4-BE49-F238E27FC236}">
                    <a16:creationId xmlns:a16="http://schemas.microsoft.com/office/drawing/2014/main" id="{2494EE2D-5CB6-BAA4-801D-57B78149D362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26" name="Graphic 166">
                <a:extLst>
                  <a:ext uri="{FF2B5EF4-FFF2-40B4-BE49-F238E27FC236}">
                    <a16:creationId xmlns:a16="http://schemas.microsoft.com/office/drawing/2014/main" id="{B698172D-DA8A-43C9-5209-8775A6810981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27" name="Graphic 166">
                <a:extLst>
                  <a:ext uri="{FF2B5EF4-FFF2-40B4-BE49-F238E27FC236}">
                    <a16:creationId xmlns:a16="http://schemas.microsoft.com/office/drawing/2014/main" id="{FDF42262-4D8C-F452-F052-9F0B63EE137F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28" name="Graphic 166">
                <a:extLst>
                  <a:ext uri="{FF2B5EF4-FFF2-40B4-BE49-F238E27FC236}">
                    <a16:creationId xmlns:a16="http://schemas.microsoft.com/office/drawing/2014/main" id="{1E2AEA94-6679-5AD8-85F2-3DBA0D444990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29" name="Graphic 166">
                <a:extLst>
                  <a:ext uri="{FF2B5EF4-FFF2-40B4-BE49-F238E27FC236}">
                    <a16:creationId xmlns:a16="http://schemas.microsoft.com/office/drawing/2014/main" id="{BCF9EA18-3918-DECF-2CA7-D8E143BAB3D6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0" name="Graphic 166">
                <a:extLst>
                  <a:ext uri="{FF2B5EF4-FFF2-40B4-BE49-F238E27FC236}">
                    <a16:creationId xmlns:a16="http://schemas.microsoft.com/office/drawing/2014/main" id="{98766A33-216A-9065-E3AE-58403FD5E3B6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1" name="Graphic 166">
                <a:extLst>
                  <a:ext uri="{FF2B5EF4-FFF2-40B4-BE49-F238E27FC236}">
                    <a16:creationId xmlns:a16="http://schemas.microsoft.com/office/drawing/2014/main" id="{E46348FB-F542-D830-F373-B6483F0086D8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2" name="Graphic 166">
                <a:extLst>
                  <a:ext uri="{FF2B5EF4-FFF2-40B4-BE49-F238E27FC236}">
                    <a16:creationId xmlns:a16="http://schemas.microsoft.com/office/drawing/2014/main" id="{6062050E-82BF-2BAD-DA33-D9BE439CDD48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3" name="Graphic 166">
                <a:extLst>
                  <a:ext uri="{FF2B5EF4-FFF2-40B4-BE49-F238E27FC236}">
                    <a16:creationId xmlns:a16="http://schemas.microsoft.com/office/drawing/2014/main" id="{F94A2406-45E8-BC49-5D1C-4C50FD58D291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4" name="Graphic 166">
                <a:extLst>
                  <a:ext uri="{FF2B5EF4-FFF2-40B4-BE49-F238E27FC236}">
                    <a16:creationId xmlns:a16="http://schemas.microsoft.com/office/drawing/2014/main" id="{428A6EDD-46DB-61FC-5A33-4E817FA20285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5" name="Graphic 166">
                <a:extLst>
                  <a:ext uri="{FF2B5EF4-FFF2-40B4-BE49-F238E27FC236}">
                    <a16:creationId xmlns:a16="http://schemas.microsoft.com/office/drawing/2014/main" id="{F959BD4E-CDC8-AFAA-8926-299B4514051B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6" name="Graphic 166">
                <a:extLst>
                  <a:ext uri="{FF2B5EF4-FFF2-40B4-BE49-F238E27FC236}">
                    <a16:creationId xmlns:a16="http://schemas.microsoft.com/office/drawing/2014/main" id="{114FDC8F-78CC-37AC-F161-6BB0EEE83FF1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7" name="Graphic 166">
                <a:extLst>
                  <a:ext uri="{FF2B5EF4-FFF2-40B4-BE49-F238E27FC236}">
                    <a16:creationId xmlns:a16="http://schemas.microsoft.com/office/drawing/2014/main" id="{8AF2F42F-7D87-176A-8D4E-CB1AA93D28FF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8" name="Graphic 166">
                <a:extLst>
                  <a:ext uri="{FF2B5EF4-FFF2-40B4-BE49-F238E27FC236}">
                    <a16:creationId xmlns:a16="http://schemas.microsoft.com/office/drawing/2014/main" id="{294F192A-87E7-C01D-8165-F92871BBDBE6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39" name="Graphic 166">
                <a:extLst>
                  <a:ext uri="{FF2B5EF4-FFF2-40B4-BE49-F238E27FC236}">
                    <a16:creationId xmlns:a16="http://schemas.microsoft.com/office/drawing/2014/main" id="{76F1F670-1C04-8C0D-900C-04537F6909F3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0" name="Graphic 166">
                <a:extLst>
                  <a:ext uri="{FF2B5EF4-FFF2-40B4-BE49-F238E27FC236}">
                    <a16:creationId xmlns:a16="http://schemas.microsoft.com/office/drawing/2014/main" id="{ACE892A9-60D2-632B-AF88-68C43E5A11A5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1" name="Graphic 166">
                <a:extLst>
                  <a:ext uri="{FF2B5EF4-FFF2-40B4-BE49-F238E27FC236}">
                    <a16:creationId xmlns:a16="http://schemas.microsoft.com/office/drawing/2014/main" id="{80933A9E-2858-C03A-0990-D2EC4FE1CE26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2" name="Graphic 166">
                <a:extLst>
                  <a:ext uri="{FF2B5EF4-FFF2-40B4-BE49-F238E27FC236}">
                    <a16:creationId xmlns:a16="http://schemas.microsoft.com/office/drawing/2014/main" id="{4B4AC722-0F26-095C-CF46-973FE3018759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3" name="Graphic 166">
                <a:extLst>
                  <a:ext uri="{FF2B5EF4-FFF2-40B4-BE49-F238E27FC236}">
                    <a16:creationId xmlns:a16="http://schemas.microsoft.com/office/drawing/2014/main" id="{6648DC00-63AF-4E9A-68CB-D4A83364767C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244" name="Graphic 166">
                <a:extLst>
                  <a:ext uri="{FF2B5EF4-FFF2-40B4-BE49-F238E27FC236}">
                    <a16:creationId xmlns:a16="http://schemas.microsoft.com/office/drawing/2014/main" id="{7209AB2C-4CCC-6627-BB42-C76D239A43FC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E21DE95C-5D19-B0B4-49CC-0263CD22900A}"/>
              </a:ext>
            </a:extLst>
          </p:cNvPr>
          <p:cNvGrpSpPr>
            <a:grpSpLocks noChangeAspect="1"/>
          </p:cNvGrpSpPr>
          <p:nvPr/>
        </p:nvGrpSpPr>
        <p:grpSpPr>
          <a:xfrm>
            <a:off x="4889882" y="3594225"/>
            <a:ext cx="450427" cy="448056"/>
            <a:chOff x="13218864" y="4602149"/>
            <a:chExt cx="1004021" cy="998734"/>
          </a:xfrm>
        </p:grpSpPr>
        <p:sp>
          <p:nvSpPr>
            <p:cNvPr id="288" name="Graphic 166">
              <a:extLst>
                <a:ext uri="{FF2B5EF4-FFF2-40B4-BE49-F238E27FC236}">
                  <a16:creationId xmlns:a16="http://schemas.microsoft.com/office/drawing/2014/main" id="{A8C044CF-0E87-AF9D-B69B-FA45DB7D5B96}"/>
                </a:ext>
              </a:extLst>
            </p:cNvPr>
            <p:cNvSpPr/>
            <p:nvPr/>
          </p:nvSpPr>
          <p:spPr>
            <a:xfrm>
              <a:off x="13321220" y="4700400"/>
              <a:ext cx="801424" cy="801433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89" name="Graphic 166">
              <a:extLst>
                <a:ext uri="{FF2B5EF4-FFF2-40B4-BE49-F238E27FC236}">
                  <a16:creationId xmlns:a16="http://schemas.microsoft.com/office/drawing/2014/main" id="{EA88566B-EAE8-4663-D215-C05E4C3A77EC}"/>
                </a:ext>
              </a:extLst>
            </p:cNvPr>
            <p:cNvSpPr/>
            <p:nvPr/>
          </p:nvSpPr>
          <p:spPr>
            <a:xfrm>
              <a:off x="13481116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0" name="Graphic 166">
              <a:extLst>
                <a:ext uri="{FF2B5EF4-FFF2-40B4-BE49-F238E27FC236}">
                  <a16:creationId xmlns:a16="http://schemas.microsoft.com/office/drawing/2014/main" id="{76B6918C-AD47-F547-C11C-19E2A6031710}"/>
                </a:ext>
              </a:extLst>
            </p:cNvPr>
            <p:cNvSpPr/>
            <p:nvPr/>
          </p:nvSpPr>
          <p:spPr>
            <a:xfrm>
              <a:off x="13601521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1" name="Graphic 166">
              <a:extLst>
                <a:ext uri="{FF2B5EF4-FFF2-40B4-BE49-F238E27FC236}">
                  <a16:creationId xmlns:a16="http://schemas.microsoft.com/office/drawing/2014/main" id="{1C76E2C1-2A09-9BF3-E9D0-958E42934260}"/>
                </a:ext>
              </a:extLst>
            </p:cNvPr>
            <p:cNvSpPr/>
            <p:nvPr/>
          </p:nvSpPr>
          <p:spPr>
            <a:xfrm>
              <a:off x="1372192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2" name="Graphic 166">
              <a:extLst>
                <a:ext uri="{FF2B5EF4-FFF2-40B4-BE49-F238E27FC236}">
                  <a16:creationId xmlns:a16="http://schemas.microsoft.com/office/drawing/2014/main" id="{C68A4FD5-B960-238F-EE62-DCFEE48A3C0A}"/>
                </a:ext>
              </a:extLst>
            </p:cNvPr>
            <p:cNvSpPr/>
            <p:nvPr/>
          </p:nvSpPr>
          <p:spPr>
            <a:xfrm>
              <a:off x="13842342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3" name="Graphic 166">
              <a:extLst>
                <a:ext uri="{FF2B5EF4-FFF2-40B4-BE49-F238E27FC236}">
                  <a16:creationId xmlns:a16="http://schemas.microsoft.com/office/drawing/2014/main" id="{28127854-000D-74CC-40E9-5FACA6C49582}"/>
                </a:ext>
              </a:extLst>
            </p:cNvPr>
            <p:cNvSpPr/>
            <p:nvPr/>
          </p:nvSpPr>
          <p:spPr>
            <a:xfrm>
              <a:off x="1396274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4" name="Graphic 166">
              <a:extLst>
                <a:ext uri="{FF2B5EF4-FFF2-40B4-BE49-F238E27FC236}">
                  <a16:creationId xmlns:a16="http://schemas.microsoft.com/office/drawing/2014/main" id="{1D07425B-A2C4-0435-6D62-C8A19295D43C}"/>
                </a:ext>
              </a:extLst>
            </p:cNvPr>
            <p:cNvSpPr/>
            <p:nvPr/>
          </p:nvSpPr>
          <p:spPr>
            <a:xfrm>
              <a:off x="13481116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5" name="Graphic 166">
              <a:extLst>
                <a:ext uri="{FF2B5EF4-FFF2-40B4-BE49-F238E27FC236}">
                  <a16:creationId xmlns:a16="http://schemas.microsoft.com/office/drawing/2014/main" id="{F19ADA8E-4FDB-4D15-40D5-83198872F90F}"/>
                </a:ext>
              </a:extLst>
            </p:cNvPr>
            <p:cNvSpPr/>
            <p:nvPr/>
          </p:nvSpPr>
          <p:spPr>
            <a:xfrm>
              <a:off x="13601521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6" name="Graphic 166">
              <a:extLst>
                <a:ext uri="{FF2B5EF4-FFF2-40B4-BE49-F238E27FC236}">
                  <a16:creationId xmlns:a16="http://schemas.microsoft.com/office/drawing/2014/main" id="{CE820947-E18C-73B8-DC8F-40E3E3EF76B7}"/>
                </a:ext>
              </a:extLst>
            </p:cNvPr>
            <p:cNvSpPr/>
            <p:nvPr/>
          </p:nvSpPr>
          <p:spPr>
            <a:xfrm>
              <a:off x="1372192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7" name="Graphic 166">
              <a:extLst>
                <a:ext uri="{FF2B5EF4-FFF2-40B4-BE49-F238E27FC236}">
                  <a16:creationId xmlns:a16="http://schemas.microsoft.com/office/drawing/2014/main" id="{857BD20B-7E6C-DAB5-DD33-4A1007F8FDB0}"/>
                </a:ext>
              </a:extLst>
            </p:cNvPr>
            <p:cNvSpPr/>
            <p:nvPr/>
          </p:nvSpPr>
          <p:spPr>
            <a:xfrm>
              <a:off x="13842342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8" name="Graphic 166">
              <a:extLst>
                <a:ext uri="{FF2B5EF4-FFF2-40B4-BE49-F238E27FC236}">
                  <a16:creationId xmlns:a16="http://schemas.microsoft.com/office/drawing/2014/main" id="{50B73BD4-FD75-8941-AB73-BBD59F67B4FD}"/>
                </a:ext>
              </a:extLst>
            </p:cNvPr>
            <p:cNvSpPr/>
            <p:nvPr/>
          </p:nvSpPr>
          <p:spPr>
            <a:xfrm>
              <a:off x="1396274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299" name="Graphic 166">
              <a:extLst>
                <a:ext uri="{FF2B5EF4-FFF2-40B4-BE49-F238E27FC236}">
                  <a16:creationId xmlns:a16="http://schemas.microsoft.com/office/drawing/2014/main" id="{4BB0198B-36EC-4580-0EDA-C25A7D84F0E4}"/>
                </a:ext>
              </a:extLst>
            </p:cNvPr>
            <p:cNvSpPr/>
            <p:nvPr/>
          </p:nvSpPr>
          <p:spPr>
            <a:xfrm>
              <a:off x="14123387" y="4860305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0" name="Graphic 166">
              <a:extLst>
                <a:ext uri="{FF2B5EF4-FFF2-40B4-BE49-F238E27FC236}">
                  <a16:creationId xmlns:a16="http://schemas.microsoft.com/office/drawing/2014/main" id="{DD6D6113-CB95-9DDD-CAEA-A9C62B435F45}"/>
                </a:ext>
              </a:extLst>
            </p:cNvPr>
            <p:cNvSpPr/>
            <p:nvPr/>
          </p:nvSpPr>
          <p:spPr>
            <a:xfrm>
              <a:off x="14123387" y="4980711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1" name="Graphic 166">
              <a:extLst>
                <a:ext uri="{FF2B5EF4-FFF2-40B4-BE49-F238E27FC236}">
                  <a16:creationId xmlns:a16="http://schemas.microsoft.com/office/drawing/2014/main" id="{6D6B9C33-CECB-F071-5B03-B1913BBE9BE2}"/>
                </a:ext>
              </a:extLst>
            </p:cNvPr>
            <p:cNvSpPr/>
            <p:nvPr/>
          </p:nvSpPr>
          <p:spPr>
            <a:xfrm>
              <a:off x="14123387" y="5101116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2" name="Graphic 166">
              <a:extLst>
                <a:ext uri="{FF2B5EF4-FFF2-40B4-BE49-F238E27FC236}">
                  <a16:creationId xmlns:a16="http://schemas.microsoft.com/office/drawing/2014/main" id="{5EBE0312-50CD-4A35-3111-9E18CA4F4F78}"/>
                </a:ext>
              </a:extLst>
            </p:cNvPr>
            <p:cNvSpPr/>
            <p:nvPr/>
          </p:nvSpPr>
          <p:spPr>
            <a:xfrm>
              <a:off x="14123387" y="5221522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3" name="Graphic 166">
              <a:extLst>
                <a:ext uri="{FF2B5EF4-FFF2-40B4-BE49-F238E27FC236}">
                  <a16:creationId xmlns:a16="http://schemas.microsoft.com/office/drawing/2014/main" id="{D538818A-6C3C-719A-6311-DAF9C3C7748D}"/>
                </a:ext>
              </a:extLst>
            </p:cNvPr>
            <p:cNvSpPr/>
            <p:nvPr/>
          </p:nvSpPr>
          <p:spPr>
            <a:xfrm>
              <a:off x="14123387" y="5341927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4" name="Graphic 166">
              <a:extLst>
                <a:ext uri="{FF2B5EF4-FFF2-40B4-BE49-F238E27FC236}">
                  <a16:creationId xmlns:a16="http://schemas.microsoft.com/office/drawing/2014/main" id="{103A3651-A8EF-2442-0DFC-F6CCDF68C109}"/>
                </a:ext>
              </a:extLst>
            </p:cNvPr>
            <p:cNvSpPr/>
            <p:nvPr/>
          </p:nvSpPr>
          <p:spPr>
            <a:xfrm>
              <a:off x="13218864" y="4860305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5" name="Graphic 166">
              <a:extLst>
                <a:ext uri="{FF2B5EF4-FFF2-40B4-BE49-F238E27FC236}">
                  <a16:creationId xmlns:a16="http://schemas.microsoft.com/office/drawing/2014/main" id="{9BC75188-CF0E-8E08-D958-33B4C63F4BB1}"/>
                </a:ext>
              </a:extLst>
            </p:cNvPr>
            <p:cNvSpPr/>
            <p:nvPr/>
          </p:nvSpPr>
          <p:spPr>
            <a:xfrm>
              <a:off x="13218864" y="4980711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6" name="Graphic 166">
              <a:extLst>
                <a:ext uri="{FF2B5EF4-FFF2-40B4-BE49-F238E27FC236}">
                  <a16:creationId xmlns:a16="http://schemas.microsoft.com/office/drawing/2014/main" id="{4FC35A3E-E87A-4F88-1975-AEE11260CF50}"/>
                </a:ext>
              </a:extLst>
            </p:cNvPr>
            <p:cNvSpPr/>
            <p:nvPr/>
          </p:nvSpPr>
          <p:spPr>
            <a:xfrm>
              <a:off x="13218864" y="5101116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7" name="Graphic 166">
              <a:extLst>
                <a:ext uri="{FF2B5EF4-FFF2-40B4-BE49-F238E27FC236}">
                  <a16:creationId xmlns:a16="http://schemas.microsoft.com/office/drawing/2014/main" id="{DB4915CF-2B2E-6181-ACB7-1EF24E840DC9}"/>
                </a:ext>
              </a:extLst>
            </p:cNvPr>
            <p:cNvSpPr/>
            <p:nvPr/>
          </p:nvSpPr>
          <p:spPr>
            <a:xfrm>
              <a:off x="13218864" y="5221522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08" name="Graphic 166">
              <a:extLst>
                <a:ext uri="{FF2B5EF4-FFF2-40B4-BE49-F238E27FC236}">
                  <a16:creationId xmlns:a16="http://schemas.microsoft.com/office/drawing/2014/main" id="{CD8AD886-A734-E7FD-8DF4-12068E5C4A2C}"/>
                </a:ext>
              </a:extLst>
            </p:cNvPr>
            <p:cNvSpPr/>
            <p:nvPr/>
          </p:nvSpPr>
          <p:spPr>
            <a:xfrm>
              <a:off x="13218864" y="5341927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309" name="Group 308">
            <a:extLst>
              <a:ext uri="{FF2B5EF4-FFF2-40B4-BE49-F238E27FC236}">
                <a16:creationId xmlns:a16="http://schemas.microsoft.com/office/drawing/2014/main" id="{D802940A-F66D-324C-4158-5DEBC8423409}"/>
              </a:ext>
            </a:extLst>
          </p:cNvPr>
          <p:cNvGrpSpPr>
            <a:grpSpLocks noChangeAspect="1"/>
          </p:cNvGrpSpPr>
          <p:nvPr/>
        </p:nvGrpSpPr>
        <p:grpSpPr>
          <a:xfrm>
            <a:off x="4889882" y="4255758"/>
            <a:ext cx="450427" cy="448056"/>
            <a:chOff x="13218864" y="4602149"/>
            <a:chExt cx="1004021" cy="998734"/>
          </a:xfrm>
        </p:grpSpPr>
        <p:sp>
          <p:nvSpPr>
            <p:cNvPr id="310" name="Graphic 166">
              <a:extLst>
                <a:ext uri="{FF2B5EF4-FFF2-40B4-BE49-F238E27FC236}">
                  <a16:creationId xmlns:a16="http://schemas.microsoft.com/office/drawing/2014/main" id="{F9ECD727-86AE-6094-FAB0-A548D87477EB}"/>
                </a:ext>
              </a:extLst>
            </p:cNvPr>
            <p:cNvSpPr/>
            <p:nvPr/>
          </p:nvSpPr>
          <p:spPr>
            <a:xfrm>
              <a:off x="13321220" y="4700400"/>
              <a:ext cx="801424" cy="801433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1" name="Graphic 166">
              <a:extLst>
                <a:ext uri="{FF2B5EF4-FFF2-40B4-BE49-F238E27FC236}">
                  <a16:creationId xmlns:a16="http://schemas.microsoft.com/office/drawing/2014/main" id="{674C3110-CC7C-4A00-2B3B-EEDBF3EF92D8}"/>
                </a:ext>
              </a:extLst>
            </p:cNvPr>
            <p:cNvSpPr/>
            <p:nvPr/>
          </p:nvSpPr>
          <p:spPr>
            <a:xfrm>
              <a:off x="13481116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2" name="Graphic 166">
              <a:extLst>
                <a:ext uri="{FF2B5EF4-FFF2-40B4-BE49-F238E27FC236}">
                  <a16:creationId xmlns:a16="http://schemas.microsoft.com/office/drawing/2014/main" id="{05A7390A-6198-F544-D5D4-99AF6EF16327}"/>
                </a:ext>
              </a:extLst>
            </p:cNvPr>
            <p:cNvSpPr/>
            <p:nvPr/>
          </p:nvSpPr>
          <p:spPr>
            <a:xfrm>
              <a:off x="13601521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3" name="Graphic 166">
              <a:extLst>
                <a:ext uri="{FF2B5EF4-FFF2-40B4-BE49-F238E27FC236}">
                  <a16:creationId xmlns:a16="http://schemas.microsoft.com/office/drawing/2014/main" id="{FED01CF6-4163-A231-C1EF-20D4E37F5F7C}"/>
                </a:ext>
              </a:extLst>
            </p:cNvPr>
            <p:cNvSpPr/>
            <p:nvPr/>
          </p:nvSpPr>
          <p:spPr>
            <a:xfrm>
              <a:off x="1372192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4" name="Graphic 166">
              <a:extLst>
                <a:ext uri="{FF2B5EF4-FFF2-40B4-BE49-F238E27FC236}">
                  <a16:creationId xmlns:a16="http://schemas.microsoft.com/office/drawing/2014/main" id="{7BE9A167-9570-C667-9243-CB2F3D6B5977}"/>
                </a:ext>
              </a:extLst>
            </p:cNvPr>
            <p:cNvSpPr/>
            <p:nvPr/>
          </p:nvSpPr>
          <p:spPr>
            <a:xfrm>
              <a:off x="13842342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5" name="Graphic 166">
              <a:extLst>
                <a:ext uri="{FF2B5EF4-FFF2-40B4-BE49-F238E27FC236}">
                  <a16:creationId xmlns:a16="http://schemas.microsoft.com/office/drawing/2014/main" id="{C8C53423-90D5-2618-CE69-721AFAD94596}"/>
                </a:ext>
              </a:extLst>
            </p:cNvPr>
            <p:cNvSpPr/>
            <p:nvPr/>
          </p:nvSpPr>
          <p:spPr>
            <a:xfrm>
              <a:off x="1396274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6" name="Graphic 166">
              <a:extLst>
                <a:ext uri="{FF2B5EF4-FFF2-40B4-BE49-F238E27FC236}">
                  <a16:creationId xmlns:a16="http://schemas.microsoft.com/office/drawing/2014/main" id="{B2BBF577-CCB2-A7AD-F03A-14C3F096B2D6}"/>
                </a:ext>
              </a:extLst>
            </p:cNvPr>
            <p:cNvSpPr/>
            <p:nvPr/>
          </p:nvSpPr>
          <p:spPr>
            <a:xfrm>
              <a:off x="13481116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7" name="Graphic 166">
              <a:extLst>
                <a:ext uri="{FF2B5EF4-FFF2-40B4-BE49-F238E27FC236}">
                  <a16:creationId xmlns:a16="http://schemas.microsoft.com/office/drawing/2014/main" id="{AD2E8551-0178-A182-587D-0E0B91908CF2}"/>
                </a:ext>
              </a:extLst>
            </p:cNvPr>
            <p:cNvSpPr/>
            <p:nvPr/>
          </p:nvSpPr>
          <p:spPr>
            <a:xfrm>
              <a:off x="13601521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8" name="Graphic 166">
              <a:extLst>
                <a:ext uri="{FF2B5EF4-FFF2-40B4-BE49-F238E27FC236}">
                  <a16:creationId xmlns:a16="http://schemas.microsoft.com/office/drawing/2014/main" id="{CD9D9AB9-27CB-9842-AFBA-355A1F999AD3}"/>
                </a:ext>
              </a:extLst>
            </p:cNvPr>
            <p:cNvSpPr/>
            <p:nvPr/>
          </p:nvSpPr>
          <p:spPr>
            <a:xfrm>
              <a:off x="1372192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19" name="Graphic 166">
              <a:extLst>
                <a:ext uri="{FF2B5EF4-FFF2-40B4-BE49-F238E27FC236}">
                  <a16:creationId xmlns:a16="http://schemas.microsoft.com/office/drawing/2014/main" id="{E68C2766-1770-2513-69F7-DECC48D0F3A5}"/>
                </a:ext>
              </a:extLst>
            </p:cNvPr>
            <p:cNvSpPr/>
            <p:nvPr/>
          </p:nvSpPr>
          <p:spPr>
            <a:xfrm>
              <a:off x="13842342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0" name="Graphic 166">
              <a:extLst>
                <a:ext uri="{FF2B5EF4-FFF2-40B4-BE49-F238E27FC236}">
                  <a16:creationId xmlns:a16="http://schemas.microsoft.com/office/drawing/2014/main" id="{F3FD6621-EB4A-079B-21C8-F11EC4E2BE45}"/>
                </a:ext>
              </a:extLst>
            </p:cNvPr>
            <p:cNvSpPr/>
            <p:nvPr/>
          </p:nvSpPr>
          <p:spPr>
            <a:xfrm>
              <a:off x="1396274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1" name="Graphic 166">
              <a:extLst>
                <a:ext uri="{FF2B5EF4-FFF2-40B4-BE49-F238E27FC236}">
                  <a16:creationId xmlns:a16="http://schemas.microsoft.com/office/drawing/2014/main" id="{B3FF6119-83CD-4AA6-1408-677C49D95FD7}"/>
                </a:ext>
              </a:extLst>
            </p:cNvPr>
            <p:cNvSpPr/>
            <p:nvPr/>
          </p:nvSpPr>
          <p:spPr>
            <a:xfrm>
              <a:off x="14123387" y="4860305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2" name="Graphic 166">
              <a:extLst>
                <a:ext uri="{FF2B5EF4-FFF2-40B4-BE49-F238E27FC236}">
                  <a16:creationId xmlns:a16="http://schemas.microsoft.com/office/drawing/2014/main" id="{8078A6BA-7A69-F273-935F-633A3B7A365B}"/>
                </a:ext>
              </a:extLst>
            </p:cNvPr>
            <p:cNvSpPr/>
            <p:nvPr/>
          </p:nvSpPr>
          <p:spPr>
            <a:xfrm>
              <a:off x="14123387" y="4980711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3" name="Graphic 166">
              <a:extLst>
                <a:ext uri="{FF2B5EF4-FFF2-40B4-BE49-F238E27FC236}">
                  <a16:creationId xmlns:a16="http://schemas.microsoft.com/office/drawing/2014/main" id="{2599E59E-21DA-0EA2-FE87-A80B01644EB2}"/>
                </a:ext>
              </a:extLst>
            </p:cNvPr>
            <p:cNvSpPr/>
            <p:nvPr/>
          </p:nvSpPr>
          <p:spPr>
            <a:xfrm>
              <a:off x="14123387" y="5101116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4" name="Graphic 166">
              <a:extLst>
                <a:ext uri="{FF2B5EF4-FFF2-40B4-BE49-F238E27FC236}">
                  <a16:creationId xmlns:a16="http://schemas.microsoft.com/office/drawing/2014/main" id="{2F65E3D9-A0A7-6E0F-C832-176BAB15BF44}"/>
                </a:ext>
              </a:extLst>
            </p:cNvPr>
            <p:cNvSpPr/>
            <p:nvPr/>
          </p:nvSpPr>
          <p:spPr>
            <a:xfrm>
              <a:off x="14123387" y="5221522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5" name="Graphic 166">
              <a:extLst>
                <a:ext uri="{FF2B5EF4-FFF2-40B4-BE49-F238E27FC236}">
                  <a16:creationId xmlns:a16="http://schemas.microsoft.com/office/drawing/2014/main" id="{E475F8B6-E576-BC85-3102-3CE999A1B4A3}"/>
                </a:ext>
              </a:extLst>
            </p:cNvPr>
            <p:cNvSpPr/>
            <p:nvPr/>
          </p:nvSpPr>
          <p:spPr>
            <a:xfrm>
              <a:off x="14123387" y="5341927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6" name="Graphic 166">
              <a:extLst>
                <a:ext uri="{FF2B5EF4-FFF2-40B4-BE49-F238E27FC236}">
                  <a16:creationId xmlns:a16="http://schemas.microsoft.com/office/drawing/2014/main" id="{604E12F2-C7A4-8A90-55F7-A6424386F3DC}"/>
                </a:ext>
              </a:extLst>
            </p:cNvPr>
            <p:cNvSpPr/>
            <p:nvPr/>
          </p:nvSpPr>
          <p:spPr>
            <a:xfrm>
              <a:off x="13218864" y="4860305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7" name="Graphic 166">
              <a:extLst>
                <a:ext uri="{FF2B5EF4-FFF2-40B4-BE49-F238E27FC236}">
                  <a16:creationId xmlns:a16="http://schemas.microsoft.com/office/drawing/2014/main" id="{7FE35EB6-E677-910D-4934-FF4834484079}"/>
                </a:ext>
              </a:extLst>
            </p:cNvPr>
            <p:cNvSpPr/>
            <p:nvPr/>
          </p:nvSpPr>
          <p:spPr>
            <a:xfrm>
              <a:off x="13218864" y="4980711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8" name="Graphic 166">
              <a:extLst>
                <a:ext uri="{FF2B5EF4-FFF2-40B4-BE49-F238E27FC236}">
                  <a16:creationId xmlns:a16="http://schemas.microsoft.com/office/drawing/2014/main" id="{A1122FE8-A5A4-2051-798B-0D6A16C1A64A}"/>
                </a:ext>
              </a:extLst>
            </p:cNvPr>
            <p:cNvSpPr/>
            <p:nvPr/>
          </p:nvSpPr>
          <p:spPr>
            <a:xfrm>
              <a:off x="13218864" y="5101116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29" name="Graphic 166">
              <a:extLst>
                <a:ext uri="{FF2B5EF4-FFF2-40B4-BE49-F238E27FC236}">
                  <a16:creationId xmlns:a16="http://schemas.microsoft.com/office/drawing/2014/main" id="{E2DDDAEA-D7F4-FE5C-71CC-7D83F1F84B05}"/>
                </a:ext>
              </a:extLst>
            </p:cNvPr>
            <p:cNvSpPr/>
            <p:nvPr/>
          </p:nvSpPr>
          <p:spPr>
            <a:xfrm>
              <a:off x="13218864" y="5221522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0" name="Graphic 166">
              <a:extLst>
                <a:ext uri="{FF2B5EF4-FFF2-40B4-BE49-F238E27FC236}">
                  <a16:creationId xmlns:a16="http://schemas.microsoft.com/office/drawing/2014/main" id="{B73D689C-AF2F-5247-D9AF-19529B13184A}"/>
                </a:ext>
              </a:extLst>
            </p:cNvPr>
            <p:cNvSpPr/>
            <p:nvPr/>
          </p:nvSpPr>
          <p:spPr>
            <a:xfrm>
              <a:off x="13218864" y="5341927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824F89C7-EE03-B9EA-44CF-0BFA46AE7D61}"/>
              </a:ext>
            </a:extLst>
          </p:cNvPr>
          <p:cNvGrpSpPr>
            <a:grpSpLocks noChangeAspect="1"/>
          </p:cNvGrpSpPr>
          <p:nvPr/>
        </p:nvGrpSpPr>
        <p:grpSpPr>
          <a:xfrm>
            <a:off x="4889882" y="4917291"/>
            <a:ext cx="450427" cy="448056"/>
            <a:chOff x="13218864" y="4602149"/>
            <a:chExt cx="1004021" cy="998734"/>
          </a:xfrm>
        </p:grpSpPr>
        <p:sp>
          <p:nvSpPr>
            <p:cNvPr id="332" name="Graphic 166">
              <a:extLst>
                <a:ext uri="{FF2B5EF4-FFF2-40B4-BE49-F238E27FC236}">
                  <a16:creationId xmlns:a16="http://schemas.microsoft.com/office/drawing/2014/main" id="{4FACDC31-DE57-EEFE-EC44-67A0177C76E4}"/>
                </a:ext>
              </a:extLst>
            </p:cNvPr>
            <p:cNvSpPr/>
            <p:nvPr/>
          </p:nvSpPr>
          <p:spPr>
            <a:xfrm>
              <a:off x="13321220" y="4700400"/>
              <a:ext cx="801424" cy="801433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3" name="Graphic 166">
              <a:extLst>
                <a:ext uri="{FF2B5EF4-FFF2-40B4-BE49-F238E27FC236}">
                  <a16:creationId xmlns:a16="http://schemas.microsoft.com/office/drawing/2014/main" id="{78CECF40-46B7-0284-FA79-79748B9EFF25}"/>
                </a:ext>
              </a:extLst>
            </p:cNvPr>
            <p:cNvSpPr/>
            <p:nvPr/>
          </p:nvSpPr>
          <p:spPr>
            <a:xfrm>
              <a:off x="13481116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4" name="Graphic 166">
              <a:extLst>
                <a:ext uri="{FF2B5EF4-FFF2-40B4-BE49-F238E27FC236}">
                  <a16:creationId xmlns:a16="http://schemas.microsoft.com/office/drawing/2014/main" id="{69199800-6927-C39D-E954-811CE1CF85CC}"/>
                </a:ext>
              </a:extLst>
            </p:cNvPr>
            <p:cNvSpPr/>
            <p:nvPr/>
          </p:nvSpPr>
          <p:spPr>
            <a:xfrm>
              <a:off x="13601521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5" name="Graphic 166">
              <a:extLst>
                <a:ext uri="{FF2B5EF4-FFF2-40B4-BE49-F238E27FC236}">
                  <a16:creationId xmlns:a16="http://schemas.microsoft.com/office/drawing/2014/main" id="{BD08D9C3-C8DD-98B5-D744-6EEFF9DB4F9F}"/>
                </a:ext>
              </a:extLst>
            </p:cNvPr>
            <p:cNvSpPr/>
            <p:nvPr/>
          </p:nvSpPr>
          <p:spPr>
            <a:xfrm>
              <a:off x="1372192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6" name="Graphic 166">
              <a:extLst>
                <a:ext uri="{FF2B5EF4-FFF2-40B4-BE49-F238E27FC236}">
                  <a16:creationId xmlns:a16="http://schemas.microsoft.com/office/drawing/2014/main" id="{D0A5BBA1-72BD-7534-34FA-00EE8BD50047}"/>
                </a:ext>
              </a:extLst>
            </p:cNvPr>
            <p:cNvSpPr/>
            <p:nvPr/>
          </p:nvSpPr>
          <p:spPr>
            <a:xfrm>
              <a:off x="13842342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7" name="Graphic 166">
              <a:extLst>
                <a:ext uri="{FF2B5EF4-FFF2-40B4-BE49-F238E27FC236}">
                  <a16:creationId xmlns:a16="http://schemas.microsoft.com/office/drawing/2014/main" id="{130DB7CC-1C59-36A8-F94D-1F63DC0FAAF0}"/>
                </a:ext>
              </a:extLst>
            </p:cNvPr>
            <p:cNvSpPr/>
            <p:nvPr/>
          </p:nvSpPr>
          <p:spPr>
            <a:xfrm>
              <a:off x="13962747" y="4602149"/>
              <a:ext cx="9525" cy="99498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8" name="Graphic 166">
              <a:extLst>
                <a:ext uri="{FF2B5EF4-FFF2-40B4-BE49-F238E27FC236}">
                  <a16:creationId xmlns:a16="http://schemas.microsoft.com/office/drawing/2014/main" id="{F8107BD8-C060-1C82-FED1-4EC8FC223E7E}"/>
                </a:ext>
              </a:extLst>
            </p:cNvPr>
            <p:cNvSpPr/>
            <p:nvPr/>
          </p:nvSpPr>
          <p:spPr>
            <a:xfrm>
              <a:off x="13481116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39" name="Graphic 166">
              <a:extLst>
                <a:ext uri="{FF2B5EF4-FFF2-40B4-BE49-F238E27FC236}">
                  <a16:creationId xmlns:a16="http://schemas.microsoft.com/office/drawing/2014/main" id="{EE55046D-4F0C-F715-F119-FE384C34CF4E}"/>
                </a:ext>
              </a:extLst>
            </p:cNvPr>
            <p:cNvSpPr/>
            <p:nvPr/>
          </p:nvSpPr>
          <p:spPr>
            <a:xfrm>
              <a:off x="13601521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0" name="Graphic 166">
              <a:extLst>
                <a:ext uri="{FF2B5EF4-FFF2-40B4-BE49-F238E27FC236}">
                  <a16:creationId xmlns:a16="http://schemas.microsoft.com/office/drawing/2014/main" id="{B05EB3F9-151A-6F59-6EC8-0B904A9EB52E}"/>
                </a:ext>
              </a:extLst>
            </p:cNvPr>
            <p:cNvSpPr/>
            <p:nvPr/>
          </p:nvSpPr>
          <p:spPr>
            <a:xfrm>
              <a:off x="1372192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1" name="Graphic 166">
              <a:extLst>
                <a:ext uri="{FF2B5EF4-FFF2-40B4-BE49-F238E27FC236}">
                  <a16:creationId xmlns:a16="http://schemas.microsoft.com/office/drawing/2014/main" id="{6ECD9C0E-FC24-E6CF-448E-899CA108A1F4}"/>
                </a:ext>
              </a:extLst>
            </p:cNvPr>
            <p:cNvSpPr/>
            <p:nvPr/>
          </p:nvSpPr>
          <p:spPr>
            <a:xfrm>
              <a:off x="13842342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2" name="Graphic 166">
              <a:extLst>
                <a:ext uri="{FF2B5EF4-FFF2-40B4-BE49-F238E27FC236}">
                  <a16:creationId xmlns:a16="http://schemas.microsoft.com/office/drawing/2014/main" id="{D4985F11-14B0-5E7C-5F64-F42057A22F64}"/>
                </a:ext>
              </a:extLst>
            </p:cNvPr>
            <p:cNvSpPr/>
            <p:nvPr/>
          </p:nvSpPr>
          <p:spPr>
            <a:xfrm>
              <a:off x="13962747" y="5501376"/>
              <a:ext cx="9525" cy="99507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3" name="Graphic 166">
              <a:extLst>
                <a:ext uri="{FF2B5EF4-FFF2-40B4-BE49-F238E27FC236}">
                  <a16:creationId xmlns:a16="http://schemas.microsoft.com/office/drawing/2014/main" id="{BE9DCEF6-F079-FDA6-A66B-45234D7C2831}"/>
                </a:ext>
              </a:extLst>
            </p:cNvPr>
            <p:cNvSpPr/>
            <p:nvPr/>
          </p:nvSpPr>
          <p:spPr>
            <a:xfrm>
              <a:off x="14123387" y="4860305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4" name="Graphic 166">
              <a:extLst>
                <a:ext uri="{FF2B5EF4-FFF2-40B4-BE49-F238E27FC236}">
                  <a16:creationId xmlns:a16="http://schemas.microsoft.com/office/drawing/2014/main" id="{ECAEBF56-EBAB-2784-CF00-505E9A0BDC1F}"/>
                </a:ext>
              </a:extLst>
            </p:cNvPr>
            <p:cNvSpPr/>
            <p:nvPr/>
          </p:nvSpPr>
          <p:spPr>
            <a:xfrm>
              <a:off x="14123387" y="4980711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5" name="Graphic 166">
              <a:extLst>
                <a:ext uri="{FF2B5EF4-FFF2-40B4-BE49-F238E27FC236}">
                  <a16:creationId xmlns:a16="http://schemas.microsoft.com/office/drawing/2014/main" id="{8CEA01BC-F760-84C4-4E67-923A78A24C22}"/>
                </a:ext>
              </a:extLst>
            </p:cNvPr>
            <p:cNvSpPr/>
            <p:nvPr/>
          </p:nvSpPr>
          <p:spPr>
            <a:xfrm>
              <a:off x="14123387" y="5101116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6" name="Graphic 166">
              <a:extLst>
                <a:ext uri="{FF2B5EF4-FFF2-40B4-BE49-F238E27FC236}">
                  <a16:creationId xmlns:a16="http://schemas.microsoft.com/office/drawing/2014/main" id="{A8D7D5AC-55BB-654B-338E-75D5B5F8E26A}"/>
                </a:ext>
              </a:extLst>
            </p:cNvPr>
            <p:cNvSpPr/>
            <p:nvPr/>
          </p:nvSpPr>
          <p:spPr>
            <a:xfrm>
              <a:off x="14123387" y="5221522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7" name="Graphic 166">
              <a:extLst>
                <a:ext uri="{FF2B5EF4-FFF2-40B4-BE49-F238E27FC236}">
                  <a16:creationId xmlns:a16="http://schemas.microsoft.com/office/drawing/2014/main" id="{D53B7717-97E1-4056-4C2B-5388109C2E09}"/>
                </a:ext>
              </a:extLst>
            </p:cNvPr>
            <p:cNvSpPr/>
            <p:nvPr/>
          </p:nvSpPr>
          <p:spPr>
            <a:xfrm>
              <a:off x="14123387" y="5341927"/>
              <a:ext cx="99498" cy="952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8" name="Graphic 166">
              <a:extLst>
                <a:ext uri="{FF2B5EF4-FFF2-40B4-BE49-F238E27FC236}">
                  <a16:creationId xmlns:a16="http://schemas.microsoft.com/office/drawing/2014/main" id="{76E52E0F-C145-A3B3-CDD4-BE45FFB60FD7}"/>
                </a:ext>
              </a:extLst>
            </p:cNvPr>
            <p:cNvSpPr/>
            <p:nvPr/>
          </p:nvSpPr>
          <p:spPr>
            <a:xfrm>
              <a:off x="13218864" y="4860305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49" name="Graphic 166">
              <a:extLst>
                <a:ext uri="{FF2B5EF4-FFF2-40B4-BE49-F238E27FC236}">
                  <a16:creationId xmlns:a16="http://schemas.microsoft.com/office/drawing/2014/main" id="{4EEB7458-280E-F8F1-B033-CAE37EC48F05}"/>
                </a:ext>
              </a:extLst>
            </p:cNvPr>
            <p:cNvSpPr/>
            <p:nvPr/>
          </p:nvSpPr>
          <p:spPr>
            <a:xfrm>
              <a:off x="13218864" y="4980711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50" name="Graphic 166">
              <a:extLst>
                <a:ext uri="{FF2B5EF4-FFF2-40B4-BE49-F238E27FC236}">
                  <a16:creationId xmlns:a16="http://schemas.microsoft.com/office/drawing/2014/main" id="{C7FB498C-602D-594B-9BBE-62AA8E2861AB}"/>
                </a:ext>
              </a:extLst>
            </p:cNvPr>
            <p:cNvSpPr/>
            <p:nvPr/>
          </p:nvSpPr>
          <p:spPr>
            <a:xfrm>
              <a:off x="13218864" y="5101116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51" name="Graphic 166">
              <a:extLst>
                <a:ext uri="{FF2B5EF4-FFF2-40B4-BE49-F238E27FC236}">
                  <a16:creationId xmlns:a16="http://schemas.microsoft.com/office/drawing/2014/main" id="{89E93570-E07C-5346-2E9C-F93BD03D0805}"/>
                </a:ext>
              </a:extLst>
            </p:cNvPr>
            <p:cNvSpPr/>
            <p:nvPr/>
          </p:nvSpPr>
          <p:spPr>
            <a:xfrm>
              <a:off x="13218864" y="5221522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352" name="Graphic 166">
              <a:extLst>
                <a:ext uri="{FF2B5EF4-FFF2-40B4-BE49-F238E27FC236}">
                  <a16:creationId xmlns:a16="http://schemas.microsoft.com/office/drawing/2014/main" id="{EBF5C23E-FFF6-3E4A-8364-AD984EA69BF1}"/>
                </a:ext>
              </a:extLst>
            </p:cNvPr>
            <p:cNvSpPr/>
            <p:nvPr/>
          </p:nvSpPr>
          <p:spPr>
            <a:xfrm>
              <a:off x="13218864" y="5341927"/>
              <a:ext cx="99507" cy="952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FF9900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353" name="Group 352">
            <a:extLst>
              <a:ext uri="{FF2B5EF4-FFF2-40B4-BE49-F238E27FC236}">
                <a16:creationId xmlns:a16="http://schemas.microsoft.com/office/drawing/2014/main" id="{71B89C2C-84AD-9EE9-A003-F279A7B3FDD2}"/>
              </a:ext>
            </a:extLst>
          </p:cNvPr>
          <p:cNvGrpSpPr/>
          <p:nvPr/>
        </p:nvGrpSpPr>
        <p:grpSpPr>
          <a:xfrm>
            <a:off x="7308646" y="3594225"/>
            <a:ext cx="450427" cy="1771123"/>
            <a:chOff x="4258957" y="3289388"/>
            <a:chExt cx="643468" cy="2530175"/>
          </a:xfrm>
        </p:grpSpPr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A5AB08E0-F4B3-D786-6271-CAB2A246D1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3289388"/>
              <a:ext cx="643468" cy="640080"/>
              <a:chOff x="13218864" y="4602149"/>
              <a:chExt cx="1004021" cy="998734"/>
            </a:xfrm>
          </p:grpSpPr>
          <p:sp>
            <p:nvSpPr>
              <p:cNvPr id="399" name="Graphic 166">
                <a:extLst>
                  <a:ext uri="{FF2B5EF4-FFF2-40B4-BE49-F238E27FC236}">
                    <a16:creationId xmlns:a16="http://schemas.microsoft.com/office/drawing/2014/main" id="{40B2C4F3-42EC-A18D-A16C-221D3B985CFD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0" name="Graphic 166">
                <a:extLst>
                  <a:ext uri="{FF2B5EF4-FFF2-40B4-BE49-F238E27FC236}">
                    <a16:creationId xmlns:a16="http://schemas.microsoft.com/office/drawing/2014/main" id="{82DFC61A-8000-D632-D3A9-7F96C39F8C6B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1" name="Graphic 166">
                <a:extLst>
                  <a:ext uri="{FF2B5EF4-FFF2-40B4-BE49-F238E27FC236}">
                    <a16:creationId xmlns:a16="http://schemas.microsoft.com/office/drawing/2014/main" id="{22C7D767-B6CC-1456-D846-D11CC9259082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2" name="Graphic 166">
                <a:extLst>
                  <a:ext uri="{FF2B5EF4-FFF2-40B4-BE49-F238E27FC236}">
                    <a16:creationId xmlns:a16="http://schemas.microsoft.com/office/drawing/2014/main" id="{BD955308-8E32-A77A-DD06-70BA6B3FD129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3" name="Graphic 166">
                <a:extLst>
                  <a:ext uri="{FF2B5EF4-FFF2-40B4-BE49-F238E27FC236}">
                    <a16:creationId xmlns:a16="http://schemas.microsoft.com/office/drawing/2014/main" id="{236DE2C7-7044-5EE8-B9A5-DA692011CCC0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4" name="Graphic 166">
                <a:extLst>
                  <a:ext uri="{FF2B5EF4-FFF2-40B4-BE49-F238E27FC236}">
                    <a16:creationId xmlns:a16="http://schemas.microsoft.com/office/drawing/2014/main" id="{8A61CCA3-908A-23EA-8661-421062FE00BB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5" name="Graphic 166">
                <a:extLst>
                  <a:ext uri="{FF2B5EF4-FFF2-40B4-BE49-F238E27FC236}">
                    <a16:creationId xmlns:a16="http://schemas.microsoft.com/office/drawing/2014/main" id="{FE900DAA-1E1F-40C1-5A44-9440E39086D5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6" name="Graphic 166">
                <a:extLst>
                  <a:ext uri="{FF2B5EF4-FFF2-40B4-BE49-F238E27FC236}">
                    <a16:creationId xmlns:a16="http://schemas.microsoft.com/office/drawing/2014/main" id="{6A5FBDB8-B82F-48B6-F37A-51B882EF46DF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7" name="Graphic 166">
                <a:extLst>
                  <a:ext uri="{FF2B5EF4-FFF2-40B4-BE49-F238E27FC236}">
                    <a16:creationId xmlns:a16="http://schemas.microsoft.com/office/drawing/2014/main" id="{F268576D-4219-FA69-3E4E-8F0CEC3CEFC6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8" name="Graphic 166">
                <a:extLst>
                  <a:ext uri="{FF2B5EF4-FFF2-40B4-BE49-F238E27FC236}">
                    <a16:creationId xmlns:a16="http://schemas.microsoft.com/office/drawing/2014/main" id="{C80D435F-1EA9-1D4E-F89E-B126ADA3D8D0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09" name="Graphic 166">
                <a:extLst>
                  <a:ext uri="{FF2B5EF4-FFF2-40B4-BE49-F238E27FC236}">
                    <a16:creationId xmlns:a16="http://schemas.microsoft.com/office/drawing/2014/main" id="{455F449B-E434-D8E8-D616-58844852B9B0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0" name="Graphic 166">
                <a:extLst>
                  <a:ext uri="{FF2B5EF4-FFF2-40B4-BE49-F238E27FC236}">
                    <a16:creationId xmlns:a16="http://schemas.microsoft.com/office/drawing/2014/main" id="{33E657F2-3288-E1C4-E622-08CD2E4E7271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1" name="Graphic 166">
                <a:extLst>
                  <a:ext uri="{FF2B5EF4-FFF2-40B4-BE49-F238E27FC236}">
                    <a16:creationId xmlns:a16="http://schemas.microsoft.com/office/drawing/2014/main" id="{373ED132-AA4E-4D49-BDE6-44022C37A2E5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2" name="Graphic 166">
                <a:extLst>
                  <a:ext uri="{FF2B5EF4-FFF2-40B4-BE49-F238E27FC236}">
                    <a16:creationId xmlns:a16="http://schemas.microsoft.com/office/drawing/2014/main" id="{4A2B59DF-B945-DBB8-1EC6-45B098BFEE4D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3" name="Graphic 166">
                <a:extLst>
                  <a:ext uri="{FF2B5EF4-FFF2-40B4-BE49-F238E27FC236}">
                    <a16:creationId xmlns:a16="http://schemas.microsoft.com/office/drawing/2014/main" id="{E2141E8F-6877-DC1C-0F56-3492DD7F38C2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4" name="Graphic 166">
                <a:extLst>
                  <a:ext uri="{FF2B5EF4-FFF2-40B4-BE49-F238E27FC236}">
                    <a16:creationId xmlns:a16="http://schemas.microsoft.com/office/drawing/2014/main" id="{DEE03F82-31A7-9869-C9CE-B2BC23C8E66D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5" name="Graphic 166">
                <a:extLst>
                  <a:ext uri="{FF2B5EF4-FFF2-40B4-BE49-F238E27FC236}">
                    <a16:creationId xmlns:a16="http://schemas.microsoft.com/office/drawing/2014/main" id="{E13A2366-BC46-EB40-49A8-E884ABF94369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6" name="Graphic 166">
                <a:extLst>
                  <a:ext uri="{FF2B5EF4-FFF2-40B4-BE49-F238E27FC236}">
                    <a16:creationId xmlns:a16="http://schemas.microsoft.com/office/drawing/2014/main" id="{694308CC-8A7B-12BC-93D6-57B2B18A2BAD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7" name="Graphic 166">
                <a:extLst>
                  <a:ext uri="{FF2B5EF4-FFF2-40B4-BE49-F238E27FC236}">
                    <a16:creationId xmlns:a16="http://schemas.microsoft.com/office/drawing/2014/main" id="{EA13E3AB-D642-BB05-40C7-A612C710BBEF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8" name="Graphic 166">
                <a:extLst>
                  <a:ext uri="{FF2B5EF4-FFF2-40B4-BE49-F238E27FC236}">
                    <a16:creationId xmlns:a16="http://schemas.microsoft.com/office/drawing/2014/main" id="{F96BCFE1-321A-528A-444F-7A2FC9AF8A75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19" name="Graphic 166">
                <a:extLst>
                  <a:ext uri="{FF2B5EF4-FFF2-40B4-BE49-F238E27FC236}">
                    <a16:creationId xmlns:a16="http://schemas.microsoft.com/office/drawing/2014/main" id="{C464D31C-8987-7152-7222-CD231CC40EAC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B91CF976-8CAE-EF20-4DA2-01C70317BB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4234436"/>
              <a:ext cx="643468" cy="640080"/>
              <a:chOff x="13218864" y="4602149"/>
              <a:chExt cx="1004021" cy="998734"/>
            </a:xfrm>
          </p:grpSpPr>
          <p:sp>
            <p:nvSpPr>
              <p:cNvPr id="378" name="Graphic 166">
                <a:extLst>
                  <a:ext uri="{FF2B5EF4-FFF2-40B4-BE49-F238E27FC236}">
                    <a16:creationId xmlns:a16="http://schemas.microsoft.com/office/drawing/2014/main" id="{4ED7201E-383C-6D87-105F-F373051A2038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9" name="Graphic 166">
                <a:extLst>
                  <a:ext uri="{FF2B5EF4-FFF2-40B4-BE49-F238E27FC236}">
                    <a16:creationId xmlns:a16="http://schemas.microsoft.com/office/drawing/2014/main" id="{6D0C0187-0CE9-8608-E7B4-6998ED1D3F68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0" name="Graphic 166">
                <a:extLst>
                  <a:ext uri="{FF2B5EF4-FFF2-40B4-BE49-F238E27FC236}">
                    <a16:creationId xmlns:a16="http://schemas.microsoft.com/office/drawing/2014/main" id="{52E76042-450C-0F3C-A651-D78D0AF78999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1" name="Graphic 166">
                <a:extLst>
                  <a:ext uri="{FF2B5EF4-FFF2-40B4-BE49-F238E27FC236}">
                    <a16:creationId xmlns:a16="http://schemas.microsoft.com/office/drawing/2014/main" id="{D32FCC9E-6316-D2D0-2129-DED8EF9CB904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2" name="Graphic 166">
                <a:extLst>
                  <a:ext uri="{FF2B5EF4-FFF2-40B4-BE49-F238E27FC236}">
                    <a16:creationId xmlns:a16="http://schemas.microsoft.com/office/drawing/2014/main" id="{0DEEDF85-22D3-884C-B060-9C88CAD69A4C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3" name="Graphic 166">
                <a:extLst>
                  <a:ext uri="{FF2B5EF4-FFF2-40B4-BE49-F238E27FC236}">
                    <a16:creationId xmlns:a16="http://schemas.microsoft.com/office/drawing/2014/main" id="{77549D91-2E52-4B59-2B7D-D54E3101CCB4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4" name="Graphic 166">
                <a:extLst>
                  <a:ext uri="{FF2B5EF4-FFF2-40B4-BE49-F238E27FC236}">
                    <a16:creationId xmlns:a16="http://schemas.microsoft.com/office/drawing/2014/main" id="{F00666E5-8DFC-1AFB-A09A-BD635AFC86EE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5" name="Graphic 166">
                <a:extLst>
                  <a:ext uri="{FF2B5EF4-FFF2-40B4-BE49-F238E27FC236}">
                    <a16:creationId xmlns:a16="http://schemas.microsoft.com/office/drawing/2014/main" id="{61A168C2-C1BB-6A9E-C845-FC22F49BFA1E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6" name="Graphic 166">
                <a:extLst>
                  <a:ext uri="{FF2B5EF4-FFF2-40B4-BE49-F238E27FC236}">
                    <a16:creationId xmlns:a16="http://schemas.microsoft.com/office/drawing/2014/main" id="{A539C0AB-179A-A5BF-BE91-61C4D58A5EF5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7" name="Graphic 166">
                <a:extLst>
                  <a:ext uri="{FF2B5EF4-FFF2-40B4-BE49-F238E27FC236}">
                    <a16:creationId xmlns:a16="http://schemas.microsoft.com/office/drawing/2014/main" id="{F952C365-2113-5E36-E3B8-A50B98097AC5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8" name="Graphic 166">
                <a:extLst>
                  <a:ext uri="{FF2B5EF4-FFF2-40B4-BE49-F238E27FC236}">
                    <a16:creationId xmlns:a16="http://schemas.microsoft.com/office/drawing/2014/main" id="{D74A2DCB-9A77-2B2B-E4FD-0DB2AEBE5A09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89" name="Graphic 166">
                <a:extLst>
                  <a:ext uri="{FF2B5EF4-FFF2-40B4-BE49-F238E27FC236}">
                    <a16:creationId xmlns:a16="http://schemas.microsoft.com/office/drawing/2014/main" id="{67B4C528-F44C-467C-84DC-EC252B374EA7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0" name="Graphic 166">
                <a:extLst>
                  <a:ext uri="{FF2B5EF4-FFF2-40B4-BE49-F238E27FC236}">
                    <a16:creationId xmlns:a16="http://schemas.microsoft.com/office/drawing/2014/main" id="{261AEC89-941C-5EFE-766D-0CC6A395903F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1" name="Graphic 166">
                <a:extLst>
                  <a:ext uri="{FF2B5EF4-FFF2-40B4-BE49-F238E27FC236}">
                    <a16:creationId xmlns:a16="http://schemas.microsoft.com/office/drawing/2014/main" id="{05E8DCF9-455A-98AB-4927-8B607F6FE621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2" name="Graphic 166">
                <a:extLst>
                  <a:ext uri="{FF2B5EF4-FFF2-40B4-BE49-F238E27FC236}">
                    <a16:creationId xmlns:a16="http://schemas.microsoft.com/office/drawing/2014/main" id="{2E4DA0CC-FDA4-97F1-BF60-4A37EAB32F68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3" name="Graphic 166">
                <a:extLst>
                  <a:ext uri="{FF2B5EF4-FFF2-40B4-BE49-F238E27FC236}">
                    <a16:creationId xmlns:a16="http://schemas.microsoft.com/office/drawing/2014/main" id="{B34FE763-2EE1-91AF-8494-6C37EE738AA2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4" name="Graphic 166">
                <a:extLst>
                  <a:ext uri="{FF2B5EF4-FFF2-40B4-BE49-F238E27FC236}">
                    <a16:creationId xmlns:a16="http://schemas.microsoft.com/office/drawing/2014/main" id="{145F88F8-BA58-BBC9-D9EA-994F0B2E2DA1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5" name="Graphic 166">
                <a:extLst>
                  <a:ext uri="{FF2B5EF4-FFF2-40B4-BE49-F238E27FC236}">
                    <a16:creationId xmlns:a16="http://schemas.microsoft.com/office/drawing/2014/main" id="{30A610C4-0572-4348-E54C-E6F27B8C4D38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6" name="Graphic 166">
                <a:extLst>
                  <a:ext uri="{FF2B5EF4-FFF2-40B4-BE49-F238E27FC236}">
                    <a16:creationId xmlns:a16="http://schemas.microsoft.com/office/drawing/2014/main" id="{E192B0E5-A882-C9A4-EB13-987D19187D03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7" name="Graphic 166">
                <a:extLst>
                  <a:ext uri="{FF2B5EF4-FFF2-40B4-BE49-F238E27FC236}">
                    <a16:creationId xmlns:a16="http://schemas.microsoft.com/office/drawing/2014/main" id="{4D6527C1-D24C-450B-2CBA-084820EBB7E9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98" name="Graphic 166">
                <a:extLst>
                  <a:ext uri="{FF2B5EF4-FFF2-40B4-BE49-F238E27FC236}">
                    <a16:creationId xmlns:a16="http://schemas.microsoft.com/office/drawing/2014/main" id="{0222432C-DE36-0B21-43A3-8E08F53F992F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356" name="Group 355">
              <a:extLst>
                <a:ext uri="{FF2B5EF4-FFF2-40B4-BE49-F238E27FC236}">
                  <a16:creationId xmlns:a16="http://schemas.microsoft.com/office/drawing/2014/main" id="{FC78E8A5-70D6-7165-C5C5-B979883D4EC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58957" y="5179483"/>
              <a:ext cx="643468" cy="640080"/>
              <a:chOff x="13218864" y="4602149"/>
              <a:chExt cx="1004021" cy="998734"/>
            </a:xfrm>
          </p:grpSpPr>
          <p:sp>
            <p:nvSpPr>
              <p:cNvPr id="357" name="Graphic 166">
                <a:extLst>
                  <a:ext uri="{FF2B5EF4-FFF2-40B4-BE49-F238E27FC236}">
                    <a16:creationId xmlns:a16="http://schemas.microsoft.com/office/drawing/2014/main" id="{2C6E5EA0-502D-37E6-7AE0-8D7A03856880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58" name="Graphic 166">
                <a:extLst>
                  <a:ext uri="{FF2B5EF4-FFF2-40B4-BE49-F238E27FC236}">
                    <a16:creationId xmlns:a16="http://schemas.microsoft.com/office/drawing/2014/main" id="{65B5453B-1522-783B-4D58-11D74FFD6196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59" name="Graphic 166">
                <a:extLst>
                  <a:ext uri="{FF2B5EF4-FFF2-40B4-BE49-F238E27FC236}">
                    <a16:creationId xmlns:a16="http://schemas.microsoft.com/office/drawing/2014/main" id="{7B74F44A-EC08-B840-C6FD-6A83D999B938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0" name="Graphic 166">
                <a:extLst>
                  <a:ext uri="{FF2B5EF4-FFF2-40B4-BE49-F238E27FC236}">
                    <a16:creationId xmlns:a16="http://schemas.microsoft.com/office/drawing/2014/main" id="{DF7D85CA-93AB-F494-104B-B2B6FA00FAC2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1" name="Graphic 166">
                <a:extLst>
                  <a:ext uri="{FF2B5EF4-FFF2-40B4-BE49-F238E27FC236}">
                    <a16:creationId xmlns:a16="http://schemas.microsoft.com/office/drawing/2014/main" id="{EDA9C12A-5F81-20F0-3578-D9357FC7465B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2" name="Graphic 166">
                <a:extLst>
                  <a:ext uri="{FF2B5EF4-FFF2-40B4-BE49-F238E27FC236}">
                    <a16:creationId xmlns:a16="http://schemas.microsoft.com/office/drawing/2014/main" id="{A0C57D08-95AD-A796-672E-CB28D587277E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3" name="Graphic 166">
                <a:extLst>
                  <a:ext uri="{FF2B5EF4-FFF2-40B4-BE49-F238E27FC236}">
                    <a16:creationId xmlns:a16="http://schemas.microsoft.com/office/drawing/2014/main" id="{0657C70E-2C7A-F582-A4D3-D648B5A29560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4" name="Graphic 166">
                <a:extLst>
                  <a:ext uri="{FF2B5EF4-FFF2-40B4-BE49-F238E27FC236}">
                    <a16:creationId xmlns:a16="http://schemas.microsoft.com/office/drawing/2014/main" id="{E400CA46-04D8-40B7-3819-23385695CAB4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5" name="Graphic 166">
                <a:extLst>
                  <a:ext uri="{FF2B5EF4-FFF2-40B4-BE49-F238E27FC236}">
                    <a16:creationId xmlns:a16="http://schemas.microsoft.com/office/drawing/2014/main" id="{08D46421-4694-1B1D-86CD-F9D9A9797BC1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6" name="Graphic 166">
                <a:extLst>
                  <a:ext uri="{FF2B5EF4-FFF2-40B4-BE49-F238E27FC236}">
                    <a16:creationId xmlns:a16="http://schemas.microsoft.com/office/drawing/2014/main" id="{9C49D63C-6379-9890-8758-BADB869256AC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7" name="Graphic 166">
                <a:extLst>
                  <a:ext uri="{FF2B5EF4-FFF2-40B4-BE49-F238E27FC236}">
                    <a16:creationId xmlns:a16="http://schemas.microsoft.com/office/drawing/2014/main" id="{934570D8-216B-36FD-F112-09EAB416A571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8" name="Graphic 166">
                <a:extLst>
                  <a:ext uri="{FF2B5EF4-FFF2-40B4-BE49-F238E27FC236}">
                    <a16:creationId xmlns:a16="http://schemas.microsoft.com/office/drawing/2014/main" id="{4AD36E65-F65D-F8E9-650D-029010A0E63C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69" name="Graphic 166">
                <a:extLst>
                  <a:ext uri="{FF2B5EF4-FFF2-40B4-BE49-F238E27FC236}">
                    <a16:creationId xmlns:a16="http://schemas.microsoft.com/office/drawing/2014/main" id="{96881E0E-9707-9499-32CD-9D1F3E7B4D5C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0" name="Graphic 166">
                <a:extLst>
                  <a:ext uri="{FF2B5EF4-FFF2-40B4-BE49-F238E27FC236}">
                    <a16:creationId xmlns:a16="http://schemas.microsoft.com/office/drawing/2014/main" id="{BA577C60-F660-771A-E27D-0C0B70C9C457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1" name="Graphic 166">
                <a:extLst>
                  <a:ext uri="{FF2B5EF4-FFF2-40B4-BE49-F238E27FC236}">
                    <a16:creationId xmlns:a16="http://schemas.microsoft.com/office/drawing/2014/main" id="{DB1FE34A-C04F-1548-A42B-0B06E80251AB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2" name="Graphic 166">
                <a:extLst>
                  <a:ext uri="{FF2B5EF4-FFF2-40B4-BE49-F238E27FC236}">
                    <a16:creationId xmlns:a16="http://schemas.microsoft.com/office/drawing/2014/main" id="{777723FF-BDB2-C9CC-CEAF-89457FCC6DF9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3" name="Graphic 166">
                <a:extLst>
                  <a:ext uri="{FF2B5EF4-FFF2-40B4-BE49-F238E27FC236}">
                    <a16:creationId xmlns:a16="http://schemas.microsoft.com/office/drawing/2014/main" id="{A77F2CA0-26D2-11AB-6F1F-239B61BA1808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4" name="Graphic 166">
                <a:extLst>
                  <a:ext uri="{FF2B5EF4-FFF2-40B4-BE49-F238E27FC236}">
                    <a16:creationId xmlns:a16="http://schemas.microsoft.com/office/drawing/2014/main" id="{0E34D9C2-706B-C455-9671-FBCD0C430855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5" name="Graphic 166">
                <a:extLst>
                  <a:ext uri="{FF2B5EF4-FFF2-40B4-BE49-F238E27FC236}">
                    <a16:creationId xmlns:a16="http://schemas.microsoft.com/office/drawing/2014/main" id="{050635D0-D783-6C72-25A3-53D5F8CA6663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6" name="Graphic 166">
                <a:extLst>
                  <a:ext uri="{FF2B5EF4-FFF2-40B4-BE49-F238E27FC236}">
                    <a16:creationId xmlns:a16="http://schemas.microsoft.com/office/drawing/2014/main" id="{C7269574-91D7-F8DD-6F8B-77EC9850D8E8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377" name="Graphic 166">
                <a:extLst>
                  <a:ext uri="{FF2B5EF4-FFF2-40B4-BE49-F238E27FC236}">
                    <a16:creationId xmlns:a16="http://schemas.microsoft.com/office/drawing/2014/main" id="{F5B02F49-03E4-869A-ACAC-201E5EE117A8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511CDCD6-0AB3-88A9-60B4-A1A5D501E1C4}"/>
              </a:ext>
            </a:extLst>
          </p:cNvPr>
          <p:cNvGrpSpPr/>
          <p:nvPr/>
        </p:nvGrpSpPr>
        <p:grpSpPr>
          <a:xfrm>
            <a:off x="5705738" y="3674235"/>
            <a:ext cx="289560" cy="1611103"/>
            <a:chOff x="7877032" y="3403688"/>
            <a:chExt cx="413658" cy="2301575"/>
          </a:xfrm>
        </p:grpSpPr>
        <p:grpSp>
          <p:nvGrpSpPr>
            <p:cNvPr id="421" name="Group 420">
              <a:extLst>
                <a:ext uri="{FF2B5EF4-FFF2-40B4-BE49-F238E27FC236}">
                  <a16:creationId xmlns:a16="http://schemas.microsoft.com/office/drawing/2014/main" id="{5E0A748F-F1E3-CCAD-B1F2-5DB442B35A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3403688"/>
              <a:ext cx="413658" cy="411480"/>
              <a:chOff x="13218864" y="4602149"/>
              <a:chExt cx="1004021" cy="998734"/>
            </a:xfrm>
          </p:grpSpPr>
          <p:sp>
            <p:nvSpPr>
              <p:cNvPr id="466" name="Graphic 166">
                <a:extLst>
                  <a:ext uri="{FF2B5EF4-FFF2-40B4-BE49-F238E27FC236}">
                    <a16:creationId xmlns:a16="http://schemas.microsoft.com/office/drawing/2014/main" id="{6066DA75-45AB-4C3B-2055-108FFC473BDB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7" name="Graphic 166">
                <a:extLst>
                  <a:ext uri="{FF2B5EF4-FFF2-40B4-BE49-F238E27FC236}">
                    <a16:creationId xmlns:a16="http://schemas.microsoft.com/office/drawing/2014/main" id="{B888A3F8-F695-18E3-034E-12B399D63AEC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8" name="Graphic 166">
                <a:extLst>
                  <a:ext uri="{FF2B5EF4-FFF2-40B4-BE49-F238E27FC236}">
                    <a16:creationId xmlns:a16="http://schemas.microsoft.com/office/drawing/2014/main" id="{EC16B552-0CB1-5A1D-158A-35EE25271646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9" name="Graphic 166">
                <a:extLst>
                  <a:ext uri="{FF2B5EF4-FFF2-40B4-BE49-F238E27FC236}">
                    <a16:creationId xmlns:a16="http://schemas.microsoft.com/office/drawing/2014/main" id="{500B764C-F073-CCEA-3C03-CB500E2313B9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0" name="Graphic 166">
                <a:extLst>
                  <a:ext uri="{FF2B5EF4-FFF2-40B4-BE49-F238E27FC236}">
                    <a16:creationId xmlns:a16="http://schemas.microsoft.com/office/drawing/2014/main" id="{882C9F7C-7233-BE7C-5285-0936A4ACCB05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1" name="Graphic 166">
                <a:extLst>
                  <a:ext uri="{FF2B5EF4-FFF2-40B4-BE49-F238E27FC236}">
                    <a16:creationId xmlns:a16="http://schemas.microsoft.com/office/drawing/2014/main" id="{4687571C-BD40-06E8-2CDB-412BDD96683C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2" name="Graphic 166">
                <a:extLst>
                  <a:ext uri="{FF2B5EF4-FFF2-40B4-BE49-F238E27FC236}">
                    <a16:creationId xmlns:a16="http://schemas.microsoft.com/office/drawing/2014/main" id="{5CC2718C-EBF1-82EB-2826-0C8431DC1242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3" name="Graphic 166">
                <a:extLst>
                  <a:ext uri="{FF2B5EF4-FFF2-40B4-BE49-F238E27FC236}">
                    <a16:creationId xmlns:a16="http://schemas.microsoft.com/office/drawing/2014/main" id="{E5DA0AC4-11E8-7254-CB0E-8920888566BC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4" name="Graphic 166">
                <a:extLst>
                  <a:ext uri="{FF2B5EF4-FFF2-40B4-BE49-F238E27FC236}">
                    <a16:creationId xmlns:a16="http://schemas.microsoft.com/office/drawing/2014/main" id="{6CFC7560-ABBE-A0A8-2CC5-8C7AA8FCB4B0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5" name="Graphic 166">
                <a:extLst>
                  <a:ext uri="{FF2B5EF4-FFF2-40B4-BE49-F238E27FC236}">
                    <a16:creationId xmlns:a16="http://schemas.microsoft.com/office/drawing/2014/main" id="{7C80CE50-C8C8-F05C-2699-3B3E45959775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6" name="Graphic 166">
                <a:extLst>
                  <a:ext uri="{FF2B5EF4-FFF2-40B4-BE49-F238E27FC236}">
                    <a16:creationId xmlns:a16="http://schemas.microsoft.com/office/drawing/2014/main" id="{DE91DDF7-332C-E782-B630-ACAEF20F042E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7" name="Graphic 166">
                <a:extLst>
                  <a:ext uri="{FF2B5EF4-FFF2-40B4-BE49-F238E27FC236}">
                    <a16:creationId xmlns:a16="http://schemas.microsoft.com/office/drawing/2014/main" id="{F9FC6F48-3D36-8E29-788B-08B7CDE8E31B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8" name="Graphic 166">
                <a:extLst>
                  <a:ext uri="{FF2B5EF4-FFF2-40B4-BE49-F238E27FC236}">
                    <a16:creationId xmlns:a16="http://schemas.microsoft.com/office/drawing/2014/main" id="{B12EF938-04FE-9DE1-FF77-40AF5957F320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79" name="Graphic 166">
                <a:extLst>
                  <a:ext uri="{FF2B5EF4-FFF2-40B4-BE49-F238E27FC236}">
                    <a16:creationId xmlns:a16="http://schemas.microsoft.com/office/drawing/2014/main" id="{721D4051-86C1-C64F-2544-AB68E6FD06A6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0" name="Graphic 166">
                <a:extLst>
                  <a:ext uri="{FF2B5EF4-FFF2-40B4-BE49-F238E27FC236}">
                    <a16:creationId xmlns:a16="http://schemas.microsoft.com/office/drawing/2014/main" id="{AD048E0F-A868-2A94-7B32-42094D1ADEAA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1" name="Graphic 166">
                <a:extLst>
                  <a:ext uri="{FF2B5EF4-FFF2-40B4-BE49-F238E27FC236}">
                    <a16:creationId xmlns:a16="http://schemas.microsoft.com/office/drawing/2014/main" id="{BCF6704F-371D-7EA6-6101-7E7EE52EAF44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2" name="Graphic 166">
                <a:extLst>
                  <a:ext uri="{FF2B5EF4-FFF2-40B4-BE49-F238E27FC236}">
                    <a16:creationId xmlns:a16="http://schemas.microsoft.com/office/drawing/2014/main" id="{BF3032D9-1836-CA04-69CC-2BE42E90F882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3" name="Graphic 166">
                <a:extLst>
                  <a:ext uri="{FF2B5EF4-FFF2-40B4-BE49-F238E27FC236}">
                    <a16:creationId xmlns:a16="http://schemas.microsoft.com/office/drawing/2014/main" id="{1896297B-EC38-FCE6-A7D6-C6A67CAB842C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4" name="Graphic 166">
                <a:extLst>
                  <a:ext uri="{FF2B5EF4-FFF2-40B4-BE49-F238E27FC236}">
                    <a16:creationId xmlns:a16="http://schemas.microsoft.com/office/drawing/2014/main" id="{167130A1-94A9-BF5F-2E90-ED101B8CFD94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5" name="Graphic 166">
                <a:extLst>
                  <a:ext uri="{FF2B5EF4-FFF2-40B4-BE49-F238E27FC236}">
                    <a16:creationId xmlns:a16="http://schemas.microsoft.com/office/drawing/2014/main" id="{3485EE9C-E005-2872-C75B-F0205F4A0C82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86" name="Graphic 166">
                <a:extLst>
                  <a:ext uri="{FF2B5EF4-FFF2-40B4-BE49-F238E27FC236}">
                    <a16:creationId xmlns:a16="http://schemas.microsoft.com/office/drawing/2014/main" id="{1BF7B12D-4456-4E50-ECFC-CF2378EE3304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422" name="Group 421">
              <a:extLst>
                <a:ext uri="{FF2B5EF4-FFF2-40B4-BE49-F238E27FC236}">
                  <a16:creationId xmlns:a16="http://schemas.microsoft.com/office/drawing/2014/main" id="{9966F9C5-732F-4919-4F37-343C5E8FC3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4348736"/>
              <a:ext cx="413658" cy="411480"/>
              <a:chOff x="13218864" y="4602149"/>
              <a:chExt cx="1004021" cy="998734"/>
            </a:xfrm>
          </p:grpSpPr>
          <p:sp>
            <p:nvSpPr>
              <p:cNvPr id="445" name="Graphic 166">
                <a:extLst>
                  <a:ext uri="{FF2B5EF4-FFF2-40B4-BE49-F238E27FC236}">
                    <a16:creationId xmlns:a16="http://schemas.microsoft.com/office/drawing/2014/main" id="{C30D8623-A73B-C172-5398-6A7B9E8D10E4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6" name="Graphic 166">
                <a:extLst>
                  <a:ext uri="{FF2B5EF4-FFF2-40B4-BE49-F238E27FC236}">
                    <a16:creationId xmlns:a16="http://schemas.microsoft.com/office/drawing/2014/main" id="{FA92452B-4607-49D9-DE2D-2F4485EE8A0F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7" name="Graphic 166">
                <a:extLst>
                  <a:ext uri="{FF2B5EF4-FFF2-40B4-BE49-F238E27FC236}">
                    <a16:creationId xmlns:a16="http://schemas.microsoft.com/office/drawing/2014/main" id="{3F7493FA-D2E0-FD4B-B7C2-B260E039D4F6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8" name="Graphic 166">
                <a:extLst>
                  <a:ext uri="{FF2B5EF4-FFF2-40B4-BE49-F238E27FC236}">
                    <a16:creationId xmlns:a16="http://schemas.microsoft.com/office/drawing/2014/main" id="{3B152ABF-015B-AD13-2AEA-0C28651177B3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9" name="Graphic 166">
                <a:extLst>
                  <a:ext uri="{FF2B5EF4-FFF2-40B4-BE49-F238E27FC236}">
                    <a16:creationId xmlns:a16="http://schemas.microsoft.com/office/drawing/2014/main" id="{1F96E145-3B60-6800-481B-944C9AA8C032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0" name="Graphic 166">
                <a:extLst>
                  <a:ext uri="{FF2B5EF4-FFF2-40B4-BE49-F238E27FC236}">
                    <a16:creationId xmlns:a16="http://schemas.microsoft.com/office/drawing/2014/main" id="{66AE0BF0-9D31-E033-C226-E4B0D096346A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1" name="Graphic 166">
                <a:extLst>
                  <a:ext uri="{FF2B5EF4-FFF2-40B4-BE49-F238E27FC236}">
                    <a16:creationId xmlns:a16="http://schemas.microsoft.com/office/drawing/2014/main" id="{D0DFB20A-28D8-D30C-18B8-D6AF9267A3B2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2" name="Graphic 166">
                <a:extLst>
                  <a:ext uri="{FF2B5EF4-FFF2-40B4-BE49-F238E27FC236}">
                    <a16:creationId xmlns:a16="http://schemas.microsoft.com/office/drawing/2014/main" id="{6359CBE2-5F58-D76A-9E9A-4B676C2A354D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3" name="Graphic 166">
                <a:extLst>
                  <a:ext uri="{FF2B5EF4-FFF2-40B4-BE49-F238E27FC236}">
                    <a16:creationId xmlns:a16="http://schemas.microsoft.com/office/drawing/2014/main" id="{567A4870-BBBC-1227-AC9F-B4A0171C4CB4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4" name="Graphic 166">
                <a:extLst>
                  <a:ext uri="{FF2B5EF4-FFF2-40B4-BE49-F238E27FC236}">
                    <a16:creationId xmlns:a16="http://schemas.microsoft.com/office/drawing/2014/main" id="{3CA31B06-5E9C-3EC6-317E-79C6088F0A21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5" name="Graphic 166">
                <a:extLst>
                  <a:ext uri="{FF2B5EF4-FFF2-40B4-BE49-F238E27FC236}">
                    <a16:creationId xmlns:a16="http://schemas.microsoft.com/office/drawing/2014/main" id="{400472A6-091F-BBB8-CC3D-9C5F5B03C565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6" name="Graphic 166">
                <a:extLst>
                  <a:ext uri="{FF2B5EF4-FFF2-40B4-BE49-F238E27FC236}">
                    <a16:creationId xmlns:a16="http://schemas.microsoft.com/office/drawing/2014/main" id="{4B8BDDCC-B7EB-E121-EC51-229F2AB1E701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7" name="Graphic 166">
                <a:extLst>
                  <a:ext uri="{FF2B5EF4-FFF2-40B4-BE49-F238E27FC236}">
                    <a16:creationId xmlns:a16="http://schemas.microsoft.com/office/drawing/2014/main" id="{88A88D7B-B9F2-1AF5-1B3B-C6D751CBF1A1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8" name="Graphic 166">
                <a:extLst>
                  <a:ext uri="{FF2B5EF4-FFF2-40B4-BE49-F238E27FC236}">
                    <a16:creationId xmlns:a16="http://schemas.microsoft.com/office/drawing/2014/main" id="{B48F674C-DB98-3DBF-CBFD-6CBEA5086A8F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59" name="Graphic 166">
                <a:extLst>
                  <a:ext uri="{FF2B5EF4-FFF2-40B4-BE49-F238E27FC236}">
                    <a16:creationId xmlns:a16="http://schemas.microsoft.com/office/drawing/2014/main" id="{97C55B6E-FBB9-84B0-120B-801508BD7344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0" name="Graphic 166">
                <a:extLst>
                  <a:ext uri="{FF2B5EF4-FFF2-40B4-BE49-F238E27FC236}">
                    <a16:creationId xmlns:a16="http://schemas.microsoft.com/office/drawing/2014/main" id="{3BC9ED22-1AB5-B836-2818-7AE7CDA900D8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1" name="Graphic 166">
                <a:extLst>
                  <a:ext uri="{FF2B5EF4-FFF2-40B4-BE49-F238E27FC236}">
                    <a16:creationId xmlns:a16="http://schemas.microsoft.com/office/drawing/2014/main" id="{A723B73C-8611-7A8D-3DD0-A868FF945FBC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2" name="Graphic 166">
                <a:extLst>
                  <a:ext uri="{FF2B5EF4-FFF2-40B4-BE49-F238E27FC236}">
                    <a16:creationId xmlns:a16="http://schemas.microsoft.com/office/drawing/2014/main" id="{E5C77F8D-A6E5-9759-14AF-27023DAB4FFB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3" name="Graphic 166">
                <a:extLst>
                  <a:ext uri="{FF2B5EF4-FFF2-40B4-BE49-F238E27FC236}">
                    <a16:creationId xmlns:a16="http://schemas.microsoft.com/office/drawing/2014/main" id="{A577AD26-8C8C-A69E-537D-D0C8258D7D69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4" name="Graphic 166">
                <a:extLst>
                  <a:ext uri="{FF2B5EF4-FFF2-40B4-BE49-F238E27FC236}">
                    <a16:creationId xmlns:a16="http://schemas.microsoft.com/office/drawing/2014/main" id="{116C865E-915E-F984-D355-032A48719149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65" name="Graphic 166">
                <a:extLst>
                  <a:ext uri="{FF2B5EF4-FFF2-40B4-BE49-F238E27FC236}">
                    <a16:creationId xmlns:a16="http://schemas.microsoft.com/office/drawing/2014/main" id="{30812621-854F-6519-2D54-304AE67650E0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423" name="Group 422">
              <a:extLst>
                <a:ext uri="{FF2B5EF4-FFF2-40B4-BE49-F238E27FC236}">
                  <a16:creationId xmlns:a16="http://schemas.microsoft.com/office/drawing/2014/main" id="{5319CAE1-2A6F-A8AC-0366-7F963D660EC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5293783"/>
              <a:ext cx="413658" cy="411480"/>
              <a:chOff x="13218864" y="4602149"/>
              <a:chExt cx="1004021" cy="998734"/>
            </a:xfrm>
          </p:grpSpPr>
          <p:sp>
            <p:nvSpPr>
              <p:cNvPr id="424" name="Graphic 166">
                <a:extLst>
                  <a:ext uri="{FF2B5EF4-FFF2-40B4-BE49-F238E27FC236}">
                    <a16:creationId xmlns:a16="http://schemas.microsoft.com/office/drawing/2014/main" id="{D17B108B-6579-3540-FC8F-9383E466CFC7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25" name="Graphic 166">
                <a:extLst>
                  <a:ext uri="{FF2B5EF4-FFF2-40B4-BE49-F238E27FC236}">
                    <a16:creationId xmlns:a16="http://schemas.microsoft.com/office/drawing/2014/main" id="{DB5C4A89-A2F1-D3E1-975D-62A6FE68D2F4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26" name="Graphic 166">
                <a:extLst>
                  <a:ext uri="{FF2B5EF4-FFF2-40B4-BE49-F238E27FC236}">
                    <a16:creationId xmlns:a16="http://schemas.microsoft.com/office/drawing/2014/main" id="{1D4E9153-6589-32DA-4A24-B10C496F4B68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27" name="Graphic 166">
                <a:extLst>
                  <a:ext uri="{FF2B5EF4-FFF2-40B4-BE49-F238E27FC236}">
                    <a16:creationId xmlns:a16="http://schemas.microsoft.com/office/drawing/2014/main" id="{AA94BF1B-8BC9-C98C-AAEF-C0DDBE26D320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28" name="Graphic 166">
                <a:extLst>
                  <a:ext uri="{FF2B5EF4-FFF2-40B4-BE49-F238E27FC236}">
                    <a16:creationId xmlns:a16="http://schemas.microsoft.com/office/drawing/2014/main" id="{DFD80B02-D8CB-4811-FD3B-99036808AA1E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29" name="Graphic 166">
                <a:extLst>
                  <a:ext uri="{FF2B5EF4-FFF2-40B4-BE49-F238E27FC236}">
                    <a16:creationId xmlns:a16="http://schemas.microsoft.com/office/drawing/2014/main" id="{77DB1A76-A988-EE97-DCB8-B401DFD862E7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0" name="Graphic 166">
                <a:extLst>
                  <a:ext uri="{FF2B5EF4-FFF2-40B4-BE49-F238E27FC236}">
                    <a16:creationId xmlns:a16="http://schemas.microsoft.com/office/drawing/2014/main" id="{CF7E661A-4491-795A-2B91-E4D40047DFF8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1" name="Graphic 166">
                <a:extLst>
                  <a:ext uri="{FF2B5EF4-FFF2-40B4-BE49-F238E27FC236}">
                    <a16:creationId xmlns:a16="http://schemas.microsoft.com/office/drawing/2014/main" id="{A171347C-CC24-5D9F-6A60-783305467783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2" name="Graphic 166">
                <a:extLst>
                  <a:ext uri="{FF2B5EF4-FFF2-40B4-BE49-F238E27FC236}">
                    <a16:creationId xmlns:a16="http://schemas.microsoft.com/office/drawing/2014/main" id="{D3ABA368-4F61-A85F-62C0-C6C5872014A4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3" name="Graphic 166">
                <a:extLst>
                  <a:ext uri="{FF2B5EF4-FFF2-40B4-BE49-F238E27FC236}">
                    <a16:creationId xmlns:a16="http://schemas.microsoft.com/office/drawing/2014/main" id="{3D6E9CDF-679A-D797-21D4-B5C6D19DB28B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4" name="Graphic 166">
                <a:extLst>
                  <a:ext uri="{FF2B5EF4-FFF2-40B4-BE49-F238E27FC236}">
                    <a16:creationId xmlns:a16="http://schemas.microsoft.com/office/drawing/2014/main" id="{4CE0A914-F37C-7C3B-E0DF-9534A2A820D2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5" name="Graphic 166">
                <a:extLst>
                  <a:ext uri="{FF2B5EF4-FFF2-40B4-BE49-F238E27FC236}">
                    <a16:creationId xmlns:a16="http://schemas.microsoft.com/office/drawing/2014/main" id="{BEE30A03-62EE-B90D-9DD7-22C0D2BE888B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6" name="Graphic 166">
                <a:extLst>
                  <a:ext uri="{FF2B5EF4-FFF2-40B4-BE49-F238E27FC236}">
                    <a16:creationId xmlns:a16="http://schemas.microsoft.com/office/drawing/2014/main" id="{A677BC85-ED09-F319-FE41-A6798B879849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7" name="Graphic 166">
                <a:extLst>
                  <a:ext uri="{FF2B5EF4-FFF2-40B4-BE49-F238E27FC236}">
                    <a16:creationId xmlns:a16="http://schemas.microsoft.com/office/drawing/2014/main" id="{180AB79F-1F5C-7DE3-DC98-437FB13A8697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8" name="Graphic 166">
                <a:extLst>
                  <a:ext uri="{FF2B5EF4-FFF2-40B4-BE49-F238E27FC236}">
                    <a16:creationId xmlns:a16="http://schemas.microsoft.com/office/drawing/2014/main" id="{A0404B61-BD9B-23D4-34E1-8512634D1F5B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39" name="Graphic 166">
                <a:extLst>
                  <a:ext uri="{FF2B5EF4-FFF2-40B4-BE49-F238E27FC236}">
                    <a16:creationId xmlns:a16="http://schemas.microsoft.com/office/drawing/2014/main" id="{D9077C98-38F9-94AF-EB21-70F3C37ACDC7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0" name="Graphic 166">
                <a:extLst>
                  <a:ext uri="{FF2B5EF4-FFF2-40B4-BE49-F238E27FC236}">
                    <a16:creationId xmlns:a16="http://schemas.microsoft.com/office/drawing/2014/main" id="{6C0A8FB2-ABA8-59CE-1A1B-0D4CE16C784E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1" name="Graphic 166">
                <a:extLst>
                  <a:ext uri="{FF2B5EF4-FFF2-40B4-BE49-F238E27FC236}">
                    <a16:creationId xmlns:a16="http://schemas.microsoft.com/office/drawing/2014/main" id="{F719B55E-6ED7-E949-A8D6-80F195CE2CB8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2" name="Graphic 166">
                <a:extLst>
                  <a:ext uri="{FF2B5EF4-FFF2-40B4-BE49-F238E27FC236}">
                    <a16:creationId xmlns:a16="http://schemas.microsoft.com/office/drawing/2014/main" id="{D66E15CE-752F-4547-2975-2E07E59BB749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3" name="Graphic 166">
                <a:extLst>
                  <a:ext uri="{FF2B5EF4-FFF2-40B4-BE49-F238E27FC236}">
                    <a16:creationId xmlns:a16="http://schemas.microsoft.com/office/drawing/2014/main" id="{3A281B62-8BE2-2C67-CE17-6E330C6F6634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44" name="Graphic 166">
                <a:extLst>
                  <a:ext uri="{FF2B5EF4-FFF2-40B4-BE49-F238E27FC236}">
                    <a16:creationId xmlns:a16="http://schemas.microsoft.com/office/drawing/2014/main" id="{6CB98750-90BC-3F4E-F7F2-9116DA626700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87" name="Group 486">
            <a:extLst>
              <a:ext uri="{FF2B5EF4-FFF2-40B4-BE49-F238E27FC236}">
                <a16:creationId xmlns:a16="http://schemas.microsoft.com/office/drawing/2014/main" id="{2289F1C1-F2CD-DCC7-BD97-E1858CE81DB6}"/>
              </a:ext>
            </a:extLst>
          </p:cNvPr>
          <p:cNvGrpSpPr/>
          <p:nvPr/>
        </p:nvGrpSpPr>
        <p:grpSpPr>
          <a:xfrm>
            <a:off x="6327229" y="3674235"/>
            <a:ext cx="289560" cy="1611103"/>
            <a:chOff x="7877032" y="3403688"/>
            <a:chExt cx="413658" cy="2301575"/>
          </a:xfrm>
        </p:grpSpPr>
        <p:grpSp>
          <p:nvGrpSpPr>
            <p:cNvPr id="488" name="Group 487">
              <a:extLst>
                <a:ext uri="{FF2B5EF4-FFF2-40B4-BE49-F238E27FC236}">
                  <a16:creationId xmlns:a16="http://schemas.microsoft.com/office/drawing/2014/main" id="{65E646E6-A176-9554-4E92-2B12D1441F6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3403688"/>
              <a:ext cx="413658" cy="411480"/>
              <a:chOff x="13218864" y="4602149"/>
              <a:chExt cx="1004021" cy="998734"/>
            </a:xfrm>
          </p:grpSpPr>
          <p:sp>
            <p:nvSpPr>
              <p:cNvPr id="533" name="Graphic 166">
                <a:extLst>
                  <a:ext uri="{FF2B5EF4-FFF2-40B4-BE49-F238E27FC236}">
                    <a16:creationId xmlns:a16="http://schemas.microsoft.com/office/drawing/2014/main" id="{3801B80C-0DC2-413F-ADB4-2F1AEFF43EF2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4" name="Graphic 166">
                <a:extLst>
                  <a:ext uri="{FF2B5EF4-FFF2-40B4-BE49-F238E27FC236}">
                    <a16:creationId xmlns:a16="http://schemas.microsoft.com/office/drawing/2014/main" id="{6D03C4D7-3007-A885-4190-AEBB747BBD22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5" name="Graphic 166">
                <a:extLst>
                  <a:ext uri="{FF2B5EF4-FFF2-40B4-BE49-F238E27FC236}">
                    <a16:creationId xmlns:a16="http://schemas.microsoft.com/office/drawing/2014/main" id="{24D521E4-8272-6AC8-C686-8B6620E5351A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6" name="Graphic 166">
                <a:extLst>
                  <a:ext uri="{FF2B5EF4-FFF2-40B4-BE49-F238E27FC236}">
                    <a16:creationId xmlns:a16="http://schemas.microsoft.com/office/drawing/2014/main" id="{6189535B-BB52-CF63-3B6D-BD6D1785D608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7" name="Graphic 166">
                <a:extLst>
                  <a:ext uri="{FF2B5EF4-FFF2-40B4-BE49-F238E27FC236}">
                    <a16:creationId xmlns:a16="http://schemas.microsoft.com/office/drawing/2014/main" id="{F77F9024-779F-7A82-576F-1CC2009AD416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8" name="Graphic 166">
                <a:extLst>
                  <a:ext uri="{FF2B5EF4-FFF2-40B4-BE49-F238E27FC236}">
                    <a16:creationId xmlns:a16="http://schemas.microsoft.com/office/drawing/2014/main" id="{B3990A83-0D42-99C7-126B-C826470631F9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9" name="Graphic 166">
                <a:extLst>
                  <a:ext uri="{FF2B5EF4-FFF2-40B4-BE49-F238E27FC236}">
                    <a16:creationId xmlns:a16="http://schemas.microsoft.com/office/drawing/2014/main" id="{6D56A093-C77E-5F92-4109-C264CA04817F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0" name="Graphic 166">
                <a:extLst>
                  <a:ext uri="{FF2B5EF4-FFF2-40B4-BE49-F238E27FC236}">
                    <a16:creationId xmlns:a16="http://schemas.microsoft.com/office/drawing/2014/main" id="{48607216-0C07-AEA4-12FB-768849E1EC55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1" name="Graphic 166">
                <a:extLst>
                  <a:ext uri="{FF2B5EF4-FFF2-40B4-BE49-F238E27FC236}">
                    <a16:creationId xmlns:a16="http://schemas.microsoft.com/office/drawing/2014/main" id="{3A58A47F-6275-20A3-79D4-1A9D945ACBA7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2" name="Graphic 166">
                <a:extLst>
                  <a:ext uri="{FF2B5EF4-FFF2-40B4-BE49-F238E27FC236}">
                    <a16:creationId xmlns:a16="http://schemas.microsoft.com/office/drawing/2014/main" id="{B5ECBC4C-5B9E-414A-B74E-6A017E8D2D2C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3" name="Graphic 166">
                <a:extLst>
                  <a:ext uri="{FF2B5EF4-FFF2-40B4-BE49-F238E27FC236}">
                    <a16:creationId xmlns:a16="http://schemas.microsoft.com/office/drawing/2014/main" id="{FE550EFE-73BD-5241-BCC4-71795B8FFE38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4" name="Graphic 166">
                <a:extLst>
                  <a:ext uri="{FF2B5EF4-FFF2-40B4-BE49-F238E27FC236}">
                    <a16:creationId xmlns:a16="http://schemas.microsoft.com/office/drawing/2014/main" id="{716C276A-55F9-63B7-CC59-4CD6A1963407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5" name="Graphic 166">
                <a:extLst>
                  <a:ext uri="{FF2B5EF4-FFF2-40B4-BE49-F238E27FC236}">
                    <a16:creationId xmlns:a16="http://schemas.microsoft.com/office/drawing/2014/main" id="{02C8514B-5988-54A9-178D-819B0CAB9CB4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6" name="Graphic 166">
                <a:extLst>
                  <a:ext uri="{FF2B5EF4-FFF2-40B4-BE49-F238E27FC236}">
                    <a16:creationId xmlns:a16="http://schemas.microsoft.com/office/drawing/2014/main" id="{9F2DA267-AB8C-451E-0641-25233BD345CE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7" name="Graphic 166">
                <a:extLst>
                  <a:ext uri="{FF2B5EF4-FFF2-40B4-BE49-F238E27FC236}">
                    <a16:creationId xmlns:a16="http://schemas.microsoft.com/office/drawing/2014/main" id="{76AB2E38-C554-EF09-6D76-9E4D8D6AAE54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8" name="Graphic 166">
                <a:extLst>
                  <a:ext uri="{FF2B5EF4-FFF2-40B4-BE49-F238E27FC236}">
                    <a16:creationId xmlns:a16="http://schemas.microsoft.com/office/drawing/2014/main" id="{919E8B9D-671E-9DDD-435C-B3F3C1958498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49" name="Graphic 166">
                <a:extLst>
                  <a:ext uri="{FF2B5EF4-FFF2-40B4-BE49-F238E27FC236}">
                    <a16:creationId xmlns:a16="http://schemas.microsoft.com/office/drawing/2014/main" id="{BC2A5A35-A0EF-A4E7-253D-3016440103DC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50" name="Graphic 166">
                <a:extLst>
                  <a:ext uri="{FF2B5EF4-FFF2-40B4-BE49-F238E27FC236}">
                    <a16:creationId xmlns:a16="http://schemas.microsoft.com/office/drawing/2014/main" id="{026F7F54-6FD6-C515-4A44-641C4CB9C9EF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51" name="Graphic 166">
                <a:extLst>
                  <a:ext uri="{FF2B5EF4-FFF2-40B4-BE49-F238E27FC236}">
                    <a16:creationId xmlns:a16="http://schemas.microsoft.com/office/drawing/2014/main" id="{DD7B14E2-19B4-308A-B795-4EE6D2F5A3B1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52" name="Graphic 166">
                <a:extLst>
                  <a:ext uri="{FF2B5EF4-FFF2-40B4-BE49-F238E27FC236}">
                    <a16:creationId xmlns:a16="http://schemas.microsoft.com/office/drawing/2014/main" id="{0A767290-0A3B-C544-53A7-F824C87B4084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53" name="Graphic 166">
                <a:extLst>
                  <a:ext uri="{FF2B5EF4-FFF2-40B4-BE49-F238E27FC236}">
                    <a16:creationId xmlns:a16="http://schemas.microsoft.com/office/drawing/2014/main" id="{A0406C62-978E-B2F2-5FD9-4B7F54D5A873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489" name="Group 488">
              <a:extLst>
                <a:ext uri="{FF2B5EF4-FFF2-40B4-BE49-F238E27FC236}">
                  <a16:creationId xmlns:a16="http://schemas.microsoft.com/office/drawing/2014/main" id="{BCDDA805-1636-C612-DF89-CAEF4EDB2CF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4348736"/>
              <a:ext cx="413658" cy="411480"/>
              <a:chOff x="13218864" y="4602149"/>
              <a:chExt cx="1004021" cy="998734"/>
            </a:xfrm>
          </p:grpSpPr>
          <p:sp>
            <p:nvSpPr>
              <p:cNvPr id="512" name="Graphic 166">
                <a:extLst>
                  <a:ext uri="{FF2B5EF4-FFF2-40B4-BE49-F238E27FC236}">
                    <a16:creationId xmlns:a16="http://schemas.microsoft.com/office/drawing/2014/main" id="{554DAE9B-16F8-6631-4865-8842C7F949B1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3" name="Graphic 166">
                <a:extLst>
                  <a:ext uri="{FF2B5EF4-FFF2-40B4-BE49-F238E27FC236}">
                    <a16:creationId xmlns:a16="http://schemas.microsoft.com/office/drawing/2014/main" id="{FBCDB17B-7D18-8C1E-4992-7753537F0F0A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4" name="Graphic 166">
                <a:extLst>
                  <a:ext uri="{FF2B5EF4-FFF2-40B4-BE49-F238E27FC236}">
                    <a16:creationId xmlns:a16="http://schemas.microsoft.com/office/drawing/2014/main" id="{B73E58B3-71F9-24F2-0EC7-C011917B34B2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5" name="Graphic 166">
                <a:extLst>
                  <a:ext uri="{FF2B5EF4-FFF2-40B4-BE49-F238E27FC236}">
                    <a16:creationId xmlns:a16="http://schemas.microsoft.com/office/drawing/2014/main" id="{AA42C102-C981-9A6A-6F4A-E2B531BCBE50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6" name="Graphic 166">
                <a:extLst>
                  <a:ext uri="{FF2B5EF4-FFF2-40B4-BE49-F238E27FC236}">
                    <a16:creationId xmlns:a16="http://schemas.microsoft.com/office/drawing/2014/main" id="{1FBF31C8-7C4B-6F0A-9178-631FE75B2B2B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7" name="Graphic 166">
                <a:extLst>
                  <a:ext uri="{FF2B5EF4-FFF2-40B4-BE49-F238E27FC236}">
                    <a16:creationId xmlns:a16="http://schemas.microsoft.com/office/drawing/2014/main" id="{037FC34A-4F23-555B-3EE2-B16B71056718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8" name="Graphic 166">
                <a:extLst>
                  <a:ext uri="{FF2B5EF4-FFF2-40B4-BE49-F238E27FC236}">
                    <a16:creationId xmlns:a16="http://schemas.microsoft.com/office/drawing/2014/main" id="{5AD48264-E147-AEED-686C-FB2D99E72AAE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9" name="Graphic 166">
                <a:extLst>
                  <a:ext uri="{FF2B5EF4-FFF2-40B4-BE49-F238E27FC236}">
                    <a16:creationId xmlns:a16="http://schemas.microsoft.com/office/drawing/2014/main" id="{2E9ACD08-910F-271A-2D06-F7B0A243B570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0" name="Graphic 166">
                <a:extLst>
                  <a:ext uri="{FF2B5EF4-FFF2-40B4-BE49-F238E27FC236}">
                    <a16:creationId xmlns:a16="http://schemas.microsoft.com/office/drawing/2014/main" id="{D25807B5-B44B-22F8-160F-740A8D8B3553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1" name="Graphic 166">
                <a:extLst>
                  <a:ext uri="{FF2B5EF4-FFF2-40B4-BE49-F238E27FC236}">
                    <a16:creationId xmlns:a16="http://schemas.microsoft.com/office/drawing/2014/main" id="{CADC8C00-1F75-B713-25C3-935204776729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2" name="Graphic 166">
                <a:extLst>
                  <a:ext uri="{FF2B5EF4-FFF2-40B4-BE49-F238E27FC236}">
                    <a16:creationId xmlns:a16="http://schemas.microsoft.com/office/drawing/2014/main" id="{CD156BAA-47EF-7D37-8645-A41D27FFAD84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3" name="Graphic 166">
                <a:extLst>
                  <a:ext uri="{FF2B5EF4-FFF2-40B4-BE49-F238E27FC236}">
                    <a16:creationId xmlns:a16="http://schemas.microsoft.com/office/drawing/2014/main" id="{CE54C5C4-692B-D0A6-BFBA-5766EF7D23A7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4" name="Graphic 166">
                <a:extLst>
                  <a:ext uri="{FF2B5EF4-FFF2-40B4-BE49-F238E27FC236}">
                    <a16:creationId xmlns:a16="http://schemas.microsoft.com/office/drawing/2014/main" id="{5EEF21BD-4309-377C-05F0-389EFA71BE5B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5" name="Graphic 166">
                <a:extLst>
                  <a:ext uri="{FF2B5EF4-FFF2-40B4-BE49-F238E27FC236}">
                    <a16:creationId xmlns:a16="http://schemas.microsoft.com/office/drawing/2014/main" id="{AEB3E3CD-EA75-5E0E-9D6B-5D7E30AF2818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6" name="Graphic 166">
                <a:extLst>
                  <a:ext uri="{FF2B5EF4-FFF2-40B4-BE49-F238E27FC236}">
                    <a16:creationId xmlns:a16="http://schemas.microsoft.com/office/drawing/2014/main" id="{A8C0741A-C1FC-6563-06E5-30AEB5C128BC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7" name="Graphic 166">
                <a:extLst>
                  <a:ext uri="{FF2B5EF4-FFF2-40B4-BE49-F238E27FC236}">
                    <a16:creationId xmlns:a16="http://schemas.microsoft.com/office/drawing/2014/main" id="{3680C82C-794B-987A-AEEA-8CC963A5EC82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8" name="Graphic 166">
                <a:extLst>
                  <a:ext uri="{FF2B5EF4-FFF2-40B4-BE49-F238E27FC236}">
                    <a16:creationId xmlns:a16="http://schemas.microsoft.com/office/drawing/2014/main" id="{0036369F-09D6-795C-60AD-894ADE2CB647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29" name="Graphic 166">
                <a:extLst>
                  <a:ext uri="{FF2B5EF4-FFF2-40B4-BE49-F238E27FC236}">
                    <a16:creationId xmlns:a16="http://schemas.microsoft.com/office/drawing/2014/main" id="{E0F8570C-45D0-37AB-41E8-120923E6A451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0" name="Graphic 166">
                <a:extLst>
                  <a:ext uri="{FF2B5EF4-FFF2-40B4-BE49-F238E27FC236}">
                    <a16:creationId xmlns:a16="http://schemas.microsoft.com/office/drawing/2014/main" id="{16E6CEF9-3893-B1CC-754A-D8B98FDD81D1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1" name="Graphic 166">
                <a:extLst>
                  <a:ext uri="{FF2B5EF4-FFF2-40B4-BE49-F238E27FC236}">
                    <a16:creationId xmlns:a16="http://schemas.microsoft.com/office/drawing/2014/main" id="{207F3E6F-DD61-8551-BC1A-DD8011C608A3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32" name="Graphic 166">
                <a:extLst>
                  <a:ext uri="{FF2B5EF4-FFF2-40B4-BE49-F238E27FC236}">
                    <a16:creationId xmlns:a16="http://schemas.microsoft.com/office/drawing/2014/main" id="{56A8F3C6-D034-3B9E-3F1A-52D209378EDC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  <p:grpSp>
          <p:nvGrpSpPr>
            <p:cNvPr id="490" name="Group 489">
              <a:extLst>
                <a:ext uri="{FF2B5EF4-FFF2-40B4-BE49-F238E27FC236}">
                  <a16:creationId xmlns:a16="http://schemas.microsoft.com/office/drawing/2014/main" id="{1B9BEAC1-ADDE-0C0B-BFAB-13BFF39703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77032" y="5293783"/>
              <a:ext cx="413658" cy="411480"/>
              <a:chOff x="13218864" y="4602149"/>
              <a:chExt cx="1004021" cy="998734"/>
            </a:xfrm>
          </p:grpSpPr>
          <p:sp>
            <p:nvSpPr>
              <p:cNvPr id="491" name="Graphic 166">
                <a:extLst>
                  <a:ext uri="{FF2B5EF4-FFF2-40B4-BE49-F238E27FC236}">
                    <a16:creationId xmlns:a16="http://schemas.microsoft.com/office/drawing/2014/main" id="{A254F2AF-4C0D-4122-528F-6D2434CAEF8C}"/>
                  </a:ext>
                </a:extLst>
              </p:cNvPr>
              <p:cNvSpPr/>
              <p:nvPr/>
            </p:nvSpPr>
            <p:spPr>
              <a:xfrm>
                <a:off x="13321220" y="4700400"/>
                <a:ext cx="801424" cy="801433"/>
              </a:xfrm>
              <a:custGeom>
                <a:avLst/>
                <a:gdLst>
                  <a:gd name="connsiteX0" fmla="*/ 400707 w 801424"/>
                  <a:gd name="connsiteY0" fmla="*/ 0 h 801433"/>
                  <a:gd name="connsiteX1" fmla="*/ 745569 w 801424"/>
                  <a:gd name="connsiteY1" fmla="*/ 0 h 801433"/>
                  <a:gd name="connsiteX2" fmla="*/ 801424 w 801424"/>
                  <a:gd name="connsiteY2" fmla="*/ 55864 h 801433"/>
                  <a:gd name="connsiteX3" fmla="*/ 801424 w 801424"/>
                  <a:gd name="connsiteY3" fmla="*/ 745569 h 801433"/>
                  <a:gd name="connsiteX4" fmla="*/ 745569 w 801424"/>
                  <a:gd name="connsiteY4" fmla="*/ 801433 h 801433"/>
                  <a:gd name="connsiteX5" fmla="*/ 55855 w 801424"/>
                  <a:gd name="connsiteY5" fmla="*/ 801433 h 801433"/>
                  <a:gd name="connsiteX6" fmla="*/ 0 w 801424"/>
                  <a:gd name="connsiteY6" fmla="*/ 745569 h 801433"/>
                  <a:gd name="connsiteX7" fmla="*/ 0 w 801424"/>
                  <a:gd name="connsiteY7" fmla="*/ 55864 h 801433"/>
                  <a:gd name="connsiteX8" fmla="*/ 55855 w 801424"/>
                  <a:gd name="connsiteY8" fmla="*/ 0 h 801433"/>
                  <a:gd name="connsiteX9" fmla="*/ 400707 w 801424"/>
                  <a:gd name="connsiteY9" fmla="*/ 0 h 801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1424" h="801433">
                    <a:moveTo>
                      <a:pt x="400707" y="0"/>
                    </a:moveTo>
                    <a:cubicBezTo>
                      <a:pt x="400707" y="0"/>
                      <a:pt x="745569" y="0"/>
                      <a:pt x="745569" y="0"/>
                    </a:cubicBezTo>
                    <a:cubicBezTo>
                      <a:pt x="776211" y="0"/>
                      <a:pt x="801424" y="25213"/>
                      <a:pt x="801424" y="55864"/>
                    </a:cubicBezTo>
                    <a:cubicBezTo>
                      <a:pt x="801424" y="55864"/>
                      <a:pt x="801424" y="745569"/>
                      <a:pt x="801424" y="745569"/>
                    </a:cubicBezTo>
                    <a:cubicBezTo>
                      <a:pt x="801424" y="776211"/>
                      <a:pt x="776211" y="801433"/>
                      <a:pt x="745569" y="801433"/>
                    </a:cubicBezTo>
                    <a:cubicBezTo>
                      <a:pt x="745569" y="801433"/>
                      <a:pt x="55855" y="801433"/>
                      <a:pt x="55855" y="801433"/>
                    </a:cubicBezTo>
                    <a:cubicBezTo>
                      <a:pt x="25213" y="801433"/>
                      <a:pt x="0" y="776211"/>
                      <a:pt x="0" y="745569"/>
                    </a:cubicBezTo>
                    <a:cubicBezTo>
                      <a:pt x="0" y="745569"/>
                      <a:pt x="0" y="55864"/>
                      <a:pt x="0" y="55864"/>
                    </a:cubicBezTo>
                    <a:cubicBezTo>
                      <a:pt x="0" y="25213"/>
                      <a:pt x="25213" y="0"/>
                      <a:pt x="55855" y="0"/>
                    </a:cubicBezTo>
                    <a:cubicBezTo>
                      <a:pt x="55855" y="0"/>
                      <a:pt x="400707" y="0"/>
                      <a:pt x="40070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2" name="Graphic 166">
                <a:extLst>
                  <a:ext uri="{FF2B5EF4-FFF2-40B4-BE49-F238E27FC236}">
                    <a16:creationId xmlns:a16="http://schemas.microsoft.com/office/drawing/2014/main" id="{A68621C6-41C5-0E3A-3E9F-0A15AA242E73}"/>
                  </a:ext>
                </a:extLst>
              </p:cNvPr>
              <p:cNvSpPr/>
              <p:nvPr/>
            </p:nvSpPr>
            <p:spPr>
              <a:xfrm>
                <a:off x="13481116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3" name="Graphic 166">
                <a:extLst>
                  <a:ext uri="{FF2B5EF4-FFF2-40B4-BE49-F238E27FC236}">
                    <a16:creationId xmlns:a16="http://schemas.microsoft.com/office/drawing/2014/main" id="{2D608506-7017-D722-A1C7-6DB594C2BF12}"/>
                  </a:ext>
                </a:extLst>
              </p:cNvPr>
              <p:cNvSpPr/>
              <p:nvPr/>
            </p:nvSpPr>
            <p:spPr>
              <a:xfrm>
                <a:off x="13601521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4" name="Graphic 166">
                <a:extLst>
                  <a:ext uri="{FF2B5EF4-FFF2-40B4-BE49-F238E27FC236}">
                    <a16:creationId xmlns:a16="http://schemas.microsoft.com/office/drawing/2014/main" id="{AC46BA43-7F3E-80F1-D541-94DF64EA8A01}"/>
                  </a:ext>
                </a:extLst>
              </p:cNvPr>
              <p:cNvSpPr/>
              <p:nvPr/>
            </p:nvSpPr>
            <p:spPr>
              <a:xfrm>
                <a:off x="1372192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5" name="Graphic 166">
                <a:extLst>
                  <a:ext uri="{FF2B5EF4-FFF2-40B4-BE49-F238E27FC236}">
                    <a16:creationId xmlns:a16="http://schemas.microsoft.com/office/drawing/2014/main" id="{7D4DCD2E-2E4C-91A5-BACC-253DE1939EB8}"/>
                  </a:ext>
                </a:extLst>
              </p:cNvPr>
              <p:cNvSpPr/>
              <p:nvPr/>
            </p:nvSpPr>
            <p:spPr>
              <a:xfrm>
                <a:off x="13842342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6" name="Graphic 166">
                <a:extLst>
                  <a:ext uri="{FF2B5EF4-FFF2-40B4-BE49-F238E27FC236}">
                    <a16:creationId xmlns:a16="http://schemas.microsoft.com/office/drawing/2014/main" id="{817A6A7E-F4C9-8AAD-BF10-C1B264A93342}"/>
                  </a:ext>
                </a:extLst>
              </p:cNvPr>
              <p:cNvSpPr/>
              <p:nvPr/>
            </p:nvSpPr>
            <p:spPr>
              <a:xfrm>
                <a:off x="13962747" y="4602149"/>
                <a:ext cx="9525" cy="99498"/>
              </a:xfrm>
              <a:custGeom>
                <a:avLst/>
                <a:gdLst>
                  <a:gd name="connsiteX0" fmla="*/ 0 w 9525"/>
                  <a:gd name="connsiteY0" fmla="*/ 0 h 99498"/>
                  <a:gd name="connsiteX1" fmla="*/ 0 w 9525"/>
                  <a:gd name="connsiteY1" fmla="*/ 99498 h 99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498">
                    <a:moveTo>
                      <a:pt x="0" y="0"/>
                    </a:moveTo>
                    <a:lnTo>
                      <a:pt x="0" y="99498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7" name="Graphic 166">
                <a:extLst>
                  <a:ext uri="{FF2B5EF4-FFF2-40B4-BE49-F238E27FC236}">
                    <a16:creationId xmlns:a16="http://schemas.microsoft.com/office/drawing/2014/main" id="{5423C526-61CD-CC0A-3202-E0CA52BB9AEA}"/>
                  </a:ext>
                </a:extLst>
              </p:cNvPr>
              <p:cNvSpPr/>
              <p:nvPr/>
            </p:nvSpPr>
            <p:spPr>
              <a:xfrm>
                <a:off x="13481116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8" name="Graphic 166">
                <a:extLst>
                  <a:ext uri="{FF2B5EF4-FFF2-40B4-BE49-F238E27FC236}">
                    <a16:creationId xmlns:a16="http://schemas.microsoft.com/office/drawing/2014/main" id="{AD79A95D-FA5F-903F-4E7F-2763634CA73F}"/>
                  </a:ext>
                </a:extLst>
              </p:cNvPr>
              <p:cNvSpPr/>
              <p:nvPr/>
            </p:nvSpPr>
            <p:spPr>
              <a:xfrm>
                <a:off x="13601521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499" name="Graphic 166">
                <a:extLst>
                  <a:ext uri="{FF2B5EF4-FFF2-40B4-BE49-F238E27FC236}">
                    <a16:creationId xmlns:a16="http://schemas.microsoft.com/office/drawing/2014/main" id="{6FBEF376-3216-E16C-E07F-09B107618AEB}"/>
                  </a:ext>
                </a:extLst>
              </p:cNvPr>
              <p:cNvSpPr/>
              <p:nvPr/>
            </p:nvSpPr>
            <p:spPr>
              <a:xfrm>
                <a:off x="1372192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0" name="Graphic 166">
                <a:extLst>
                  <a:ext uri="{FF2B5EF4-FFF2-40B4-BE49-F238E27FC236}">
                    <a16:creationId xmlns:a16="http://schemas.microsoft.com/office/drawing/2014/main" id="{88026C41-84CE-EE7F-9EA7-1291EEFAFE24}"/>
                  </a:ext>
                </a:extLst>
              </p:cNvPr>
              <p:cNvSpPr/>
              <p:nvPr/>
            </p:nvSpPr>
            <p:spPr>
              <a:xfrm>
                <a:off x="13842342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1" name="Graphic 166">
                <a:extLst>
                  <a:ext uri="{FF2B5EF4-FFF2-40B4-BE49-F238E27FC236}">
                    <a16:creationId xmlns:a16="http://schemas.microsoft.com/office/drawing/2014/main" id="{9F5A5CC7-6F75-92A5-F4F3-03C5C86E9BF3}"/>
                  </a:ext>
                </a:extLst>
              </p:cNvPr>
              <p:cNvSpPr/>
              <p:nvPr/>
            </p:nvSpPr>
            <p:spPr>
              <a:xfrm>
                <a:off x="13962747" y="5501376"/>
                <a:ext cx="9525" cy="99507"/>
              </a:xfrm>
              <a:custGeom>
                <a:avLst/>
                <a:gdLst>
                  <a:gd name="connsiteX0" fmla="*/ 0 w 9525"/>
                  <a:gd name="connsiteY0" fmla="*/ 0 h 99507"/>
                  <a:gd name="connsiteX1" fmla="*/ 0 w 9525"/>
                  <a:gd name="connsiteY1" fmla="*/ 99507 h 99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99507">
                    <a:moveTo>
                      <a:pt x="0" y="0"/>
                    </a:moveTo>
                    <a:lnTo>
                      <a:pt x="0" y="99507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2" name="Graphic 166">
                <a:extLst>
                  <a:ext uri="{FF2B5EF4-FFF2-40B4-BE49-F238E27FC236}">
                    <a16:creationId xmlns:a16="http://schemas.microsoft.com/office/drawing/2014/main" id="{5D0D1F91-FD50-0DE3-DCD5-BFCC62507292}"/>
                  </a:ext>
                </a:extLst>
              </p:cNvPr>
              <p:cNvSpPr/>
              <p:nvPr/>
            </p:nvSpPr>
            <p:spPr>
              <a:xfrm>
                <a:off x="14123387" y="4860305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3" name="Graphic 166">
                <a:extLst>
                  <a:ext uri="{FF2B5EF4-FFF2-40B4-BE49-F238E27FC236}">
                    <a16:creationId xmlns:a16="http://schemas.microsoft.com/office/drawing/2014/main" id="{E2BF1A2A-AA55-C7C0-8F4D-81B1717DCE3D}"/>
                  </a:ext>
                </a:extLst>
              </p:cNvPr>
              <p:cNvSpPr/>
              <p:nvPr/>
            </p:nvSpPr>
            <p:spPr>
              <a:xfrm>
                <a:off x="14123387" y="4980711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4" name="Graphic 166">
                <a:extLst>
                  <a:ext uri="{FF2B5EF4-FFF2-40B4-BE49-F238E27FC236}">
                    <a16:creationId xmlns:a16="http://schemas.microsoft.com/office/drawing/2014/main" id="{3312E062-3B41-2D2C-2505-47D423A473BD}"/>
                  </a:ext>
                </a:extLst>
              </p:cNvPr>
              <p:cNvSpPr/>
              <p:nvPr/>
            </p:nvSpPr>
            <p:spPr>
              <a:xfrm>
                <a:off x="14123387" y="5101116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5" name="Graphic 166">
                <a:extLst>
                  <a:ext uri="{FF2B5EF4-FFF2-40B4-BE49-F238E27FC236}">
                    <a16:creationId xmlns:a16="http://schemas.microsoft.com/office/drawing/2014/main" id="{FCF00E43-CBE0-7CBB-FBAC-3956BEBE6D44}"/>
                  </a:ext>
                </a:extLst>
              </p:cNvPr>
              <p:cNvSpPr/>
              <p:nvPr/>
            </p:nvSpPr>
            <p:spPr>
              <a:xfrm>
                <a:off x="14123387" y="5221522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6" name="Graphic 166">
                <a:extLst>
                  <a:ext uri="{FF2B5EF4-FFF2-40B4-BE49-F238E27FC236}">
                    <a16:creationId xmlns:a16="http://schemas.microsoft.com/office/drawing/2014/main" id="{1232271D-EE0A-5742-9107-CCFEB79B26C9}"/>
                  </a:ext>
                </a:extLst>
              </p:cNvPr>
              <p:cNvSpPr/>
              <p:nvPr/>
            </p:nvSpPr>
            <p:spPr>
              <a:xfrm>
                <a:off x="14123387" y="5341927"/>
                <a:ext cx="99498" cy="9525"/>
              </a:xfrm>
              <a:custGeom>
                <a:avLst/>
                <a:gdLst>
                  <a:gd name="connsiteX0" fmla="*/ 99498 w 99498"/>
                  <a:gd name="connsiteY0" fmla="*/ 0 h 9525"/>
                  <a:gd name="connsiteX1" fmla="*/ 0 w 9949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498" h="9525">
                    <a:moveTo>
                      <a:pt x="9949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7" name="Graphic 166">
                <a:extLst>
                  <a:ext uri="{FF2B5EF4-FFF2-40B4-BE49-F238E27FC236}">
                    <a16:creationId xmlns:a16="http://schemas.microsoft.com/office/drawing/2014/main" id="{77ADBD1D-12C6-E942-5E97-0C8E318FA1FD}"/>
                  </a:ext>
                </a:extLst>
              </p:cNvPr>
              <p:cNvSpPr/>
              <p:nvPr/>
            </p:nvSpPr>
            <p:spPr>
              <a:xfrm>
                <a:off x="13218864" y="4860305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8" name="Graphic 166">
                <a:extLst>
                  <a:ext uri="{FF2B5EF4-FFF2-40B4-BE49-F238E27FC236}">
                    <a16:creationId xmlns:a16="http://schemas.microsoft.com/office/drawing/2014/main" id="{3434B8A5-A69E-FE96-309E-B13B561D1B68}"/>
                  </a:ext>
                </a:extLst>
              </p:cNvPr>
              <p:cNvSpPr/>
              <p:nvPr/>
            </p:nvSpPr>
            <p:spPr>
              <a:xfrm>
                <a:off x="13218864" y="4980711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09" name="Graphic 166">
                <a:extLst>
                  <a:ext uri="{FF2B5EF4-FFF2-40B4-BE49-F238E27FC236}">
                    <a16:creationId xmlns:a16="http://schemas.microsoft.com/office/drawing/2014/main" id="{BD49202F-A7D9-1D5A-8D1E-4ADDE222D249}"/>
                  </a:ext>
                </a:extLst>
              </p:cNvPr>
              <p:cNvSpPr/>
              <p:nvPr/>
            </p:nvSpPr>
            <p:spPr>
              <a:xfrm>
                <a:off x="13218864" y="5101116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0" name="Graphic 166">
                <a:extLst>
                  <a:ext uri="{FF2B5EF4-FFF2-40B4-BE49-F238E27FC236}">
                    <a16:creationId xmlns:a16="http://schemas.microsoft.com/office/drawing/2014/main" id="{2D56E44F-57A9-97C9-AF81-CBD85A6033E5}"/>
                  </a:ext>
                </a:extLst>
              </p:cNvPr>
              <p:cNvSpPr/>
              <p:nvPr/>
            </p:nvSpPr>
            <p:spPr>
              <a:xfrm>
                <a:off x="13218864" y="5221522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sp>
            <p:nvSpPr>
              <p:cNvPr id="511" name="Graphic 166">
                <a:extLst>
                  <a:ext uri="{FF2B5EF4-FFF2-40B4-BE49-F238E27FC236}">
                    <a16:creationId xmlns:a16="http://schemas.microsoft.com/office/drawing/2014/main" id="{0BCD6F4A-0B3C-BB21-36F3-A208F0F85D47}"/>
                  </a:ext>
                </a:extLst>
              </p:cNvPr>
              <p:cNvSpPr/>
              <p:nvPr/>
            </p:nvSpPr>
            <p:spPr>
              <a:xfrm>
                <a:off x="13218864" y="5341927"/>
                <a:ext cx="99507" cy="9525"/>
              </a:xfrm>
              <a:custGeom>
                <a:avLst/>
                <a:gdLst>
                  <a:gd name="connsiteX0" fmla="*/ 99508 w 99507"/>
                  <a:gd name="connsiteY0" fmla="*/ 0 h 9525"/>
                  <a:gd name="connsiteX1" fmla="*/ 0 w 99507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507" h="9525">
                    <a:moveTo>
                      <a:pt x="99508" y="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FF99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54" name="Group 553">
            <a:extLst>
              <a:ext uri="{FF2B5EF4-FFF2-40B4-BE49-F238E27FC236}">
                <a16:creationId xmlns:a16="http://schemas.microsoft.com/office/drawing/2014/main" id="{263748BE-0683-BB51-F927-9E803AAD081A}"/>
              </a:ext>
            </a:extLst>
          </p:cNvPr>
          <p:cNvGrpSpPr>
            <a:grpSpLocks noChangeAspect="1"/>
          </p:cNvGrpSpPr>
          <p:nvPr/>
        </p:nvGrpSpPr>
        <p:grpSpPr>
          <a:xfrm>
            <a:off x="1083189" y="4746108"/>
            <a:ext cx="450427" cy="448056"/>
            <a:chOff x="-1596720" y="2421550"/>
            <a:chExt cx="914400" cy="909585"/>
          </a:xfrm>
        </p:grpSpPr>
        <p:sp>
          <p:nvSpPr>
            <p:cNvPr id="555" name="Graphic 166">
              <a:extLst>
                <a:ext uri="{FF2B5EF4-FFF2-40B4-BE49-F238E27FC236}">
                  <a16:creationId xmlns:a16="http://schemas.microsoft.com/office/drawing/2014/main" id="{EDCFCAB6-774F-38C9-A508-83128520983B}"/>
                </a:ext>
              </a:extLst>
            </p:cNvPr>
            <p:cNvSpPr/>
            <p:nvPr/>
          </p:nvSpPr>
          <p:spPr>
            <a:xfrm>
              <a:off x="-1503501" y="2511031"/>
              <a:ext cx="729887" cy="729895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56" name="Graphic 166">
              <a:extLst>
                <a:ext uri="{FF2B5EF4-FFF2-40B4-BE49-F238E27FC236}">
                  <a16:creationId xmlns:a16="http://schemas.microsoft.com/office/drawing/2014/main" id="{C34C3977-7E30-025B-36CF-23C52CEE5E15}"/>
                </a:ext>
              </a:extLst>
            </p:cNvPr>
            <p:cNvSpPr/>
            <p:nvPr/>
          </p:nvSpPr>
          <p:spPr>
            <a:xfrm>
              <a:off x="-1357877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57" name="Graphic 166">
              <a:extLst>
                <a:ext uri="{FF2B5EF4-FFF2-40B4-BE49-F238E27FC236}">
                  <a16:creationId xmlns:a16="http://schemas.microsoft.com/office/drawing/2014/main" id="{3C2E55AA-5A39-2C5A-EFE4-F484E4E1AF17}"/>
                </a:ext>
              </a:extLst>
            </p:cNvPr>
            <p:cNvSpPr/>
            <p:nvPr/>
          </p:nvSpPr>
          <p:spPr>
            <a:xfrm>
              <a:off x="-1248220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58" name="Graphic 166">
              <a:extLst>
                <a:ext uri="{FF2B5EF4-FFF2-40B4-BE49-F238E27FC236}">
                  <a16:creationId xmlns:a16="http://schemas.microsoft.com/office/drawing/2014/main" id="{BD12E0A4-890C-7439-F0DC-F8B6AF4AA6D5}"/>
                </a:ext>
              </a:extLst>
            </p:cNvPr>
            <p:cNvSpPr/>
            <p:nvPr/>
          </p:nvSpPr>
          <p:spPr>
            <a:xfrm>
              <a:off x="-1138561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59" name="Graphic 166">
              <a:extLst>
                <a:ext uri="{FF2B5EF4-FFF2-40B4-BE49-F238E27FC236}">
                  <a16:creationId xmlns:a16="http://schemas.microsoft.com/office/drawing/2014/main" id="{5DEA826D-625F-EEC5-29C0-6FEA41783988}"/>
                </a:ext>
              </a:extLst>
            </p:cNvPr>
            <p:cNvSpPr/>
            <p:nvPr/>
          </p:nvSpPr>
          <p:spPr>
            <a:xfrm>
              <a:off x="-1028895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0" name="Graphic 166">
              <a:extLst>
                <a:ext uri="{FF2B5EF4-FFF2-40B4-BE49-F238E27FC236}">
                  <a16:creationId xmlns:a16="http://schemas.microsoft.com/office/drawing/2014/main" id="{828AA142-B0FE-C5F9-B956-5306DD483629}"/>
                </a:ext>
              </a:extLst>
            </p:cNvPr>
            <p:cNvSpPr/>
            <p:nvPr/>
          </p:nvSpPr>
          <p:spPr>
            <a:xfrm>
              <a:off x="-919238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1" name="Graphic 166">
              <a:extLst>
                <a:ext uri="{FF2B5EF4-FFF2-40B4-BE49-F238E27FC236}">
                  <a16:creationId xmlns:a16="http://schemas.microsoft.com/office/drawing/2014/main" id="{F0A40B02-51DA-DB06-4826-B2E31F18C132}"/>
                </a:ext>
              </a:extLst>
            </p:cNvPr>
            <p:cNvSpPr/>
            <p:nvPr/>
          </p:nvSpPr>
          <p:spPr>
            <a:xfrm>
              <a:off x="-1357877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2" name="Graphic 166">
              <a:extLst>
                <a:ext uri="{FF2B5EF4-FFF2-40B4-BE49-F238E27FC236}">
                  <a16:creationId xmlns:a16="http://schemas.microsoft.com/office/drawing/2014/main" id="{CDEB2B29-B967-9A85-8455-E2B9CD0DD85B}"/>
                </a:ext>
              </a:extLst>
            </p:cNvPr>
            <p:cNvSpPr/>
            <p:nvPr/>
          </p:nvSpPr>
          <p:spPr>
            <a:xfrm>
              <a:off x="-1248220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3" name="Graphic 166">
              <a:extLst>
                <a:ext uri="{FF2B5EF4-FFF2-40B4-BE49-F238E27FC236}">
                  <a16:creationId xmlns:a16="http://schemas.microsoft.com/office/drawing/2014/main" id="{74695468-ED35-0715-FB89-CA641CD4F2C3}"/>
                </a:ext>
              </a:extLst>
            </p:cNvPr>
            <p:cNvSpPr/>
            <p:nvPr/>
          </p:nvSpPr>
          <p:spPr>
            <a:xfrm>
              <a:off x="-1138561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4" name="Graphic 166">
              <a:extLst>
                <a:ext uri="{FF2B5EF4-FFF2-40B4-BE49-F238E27FC236}">
                  <a16:creationId xmlns:a16="http://schemas.microsoft.com/office/drawing/2014/main" id="{6ED27607-2473-DEEC-1058-322CE114A3B2}"/>
                </a:ext>
              </a:extLst>
            </p:cNvPr>
            <p:cNvSpPr/>
            <p:nvPr/>
          </p:nvSpPr>
          <p:spPr>
            <a:xfrm>
              <a:off x="-1028895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5" name="Graphic 166">
              <a:extLst>
                <a:ext uri="{FF2B5EF4-FFF2-40B4-BE49-F238E27FC236}">
                  <a16:creationId xmlns:a16="http://schemas.microsoft.com/office/drawing/2014/main" id="{19702D12-0575-2878-AA90-AA13E5CA162C}"/>
                </a:ext>
              </a:extLst>
            </p:cNvPr>
            <p:cNvSpPr/>
            <p:nvPr/>
          </p:nvSpPr>
          <p:spPr>
            <a:xfrm>
              <a:off x="-919238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6" name="Graphic 166">
              <a:extLst>
                <a:ext uri="{FF2B5EF4-FFF2-40B4-BE49-F238E27FC236}">
                  <a16:creationId xmlns:a16="http://schemas.microsoft.com/office/drawing/2014/main" id="{9D598084-0BF7-3EC5-9D91-277944027A8F}"/>
                </a:ext>
              </a:extLst>
            </p:cNvPr>
            <p:cNvSpPr/>
            <p:nvPr/>
          </p:nvSpPr>
          <p:spPr>
            <a:xfrm>
              <a:off x="-772937" y="2656662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7" name="Graphic 166">
              <a:extLst>
                <a:ext uri="{FF2B5EF4-FFF2-40B4-BE49-F238E27FC236}">
                  <a16:creationId xmlns:a16="http://schemas.microsoft.com/office/drawing/2014/main" id="{05ABEE6D-5F37-17D2-9FDC-C5F5C8835AC4}"/>
                </a:ext>
              </a:extLst>
            </p:cNvPr>
            <p:cNvSpPr/>
            <p:nvPr/>
          </p:nvSpPr>
          <p:spPr>
            <a:xfrm>
              <a:off x="-772937" y="2766321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8" name="Graphic 166">
              <a:extLst>
                <a:ext uri="{FF2B5EF4-FFF2-40B4-BE49-F238E27FC236}">
                  <a16:creationId xmlns:a16="http://schemas.microsoft.com/office/drawing/2014/main" id="{6268CE5E-F28F-98E2-7625-3495EE7F9860}"/>
                </a:ext>
              </a:extLst>
            </p:cNvPr>
            <p:cNvSpPr/>
            <p:nvPr/>
          </p:nvSpPr>
          <p:spPr>
            <a:xfrm>
              <a:off x="-772937" y="2875978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69" name="Graphic 166">
              <a:extLst>
                <a:ext uri="{FF2B5EF4-FFF2-40B4-BE49-F238E27FC236}">
                  <a16:creationId xmlns:a16="http://schemas.microsoft.com/office/drawing/2014/main" id="{0167F6C5-9E99-C078-7F05-FA98AEA17E1C}"/>
                </a:ext>
              </a:extLst>
            </p:cNvPr>
            <p:cNvSpPr/>
            <p:nvPr/>
          </p:nvSpPr>
          <p:spPr>
            <a:xfrm>
              <a:off x="-772937" y="2985637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0" name="Graphic 166">
              <a:extLst>
                <a:ext uri="{FF2B5EF4-FFF2-40B4-BE49-F238E27FC236}">
                  <a16:creationId xmlns:a16="http://schemas.microsoft.com/office/drawing/2014/main" id="{E99E8EE5-D144-5131-A329-45679AC41985}"/>
                </a:ext>
              </a:extLst>
            </p:cNvPr>
            <p:cNvSpPr/>
            <p:nvPr/>
          </p:nvSpPr>
          <p:spPr>
            <a:xfrm>
              <a:off x="-772937" y="3095294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1" name="Graphic 166">
              <a:extLst>
                <a:ext uri="{FF2B5EF4-FFF2-40B4-BE49-F238E27FC236}">
                  <a16:creationId xmlns:a16="http://schemas.microsoft.com/office/drawing/2014/main" id="{037161D2-C95F-7FF6-BE87-F5DDB9A908F4}"/>
                </a:ext>
              </a:extLst>
            </p:cNvPr>
            <p:cNvSpPr/>
            <p:nvPr/>
          </p:nvSpPr>
          <p:spPr>
            <a:xfrm>
              <a:off x="-1596720" y="2656662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2" name="Graphic 166">
              <a:extLst>
                <a:ext uri="{FF2B5EF4-FFF2-40B4-BE49-F238E27FC236}">
                  <a16:creationId xmlns:a16="http://schemas.microsoft.com/office/drawing/2014/main" id="{83606AE4-7C9B-D4B0-B553-34B49C6DA5FA}"/>
                </a:ext>
              </a:extLst>
            </p:cNvPr>
            <p:cNvSpPr/>
            <p:nvPr/>
          </p:nvSpPr>
          <p:spPr>
            <a:xfrm>
              <a:off x="-1596720" y="2766321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3" name="Graphic 166">
              <a:extLst>
                <a:ext uri="{FF2B5EF4-FFF2-40B4-BE49-F238E27FC236}">
                  <a16:creationId xmlns:a16="http://schemas.microsoft.com/office/drawing/2014/main" id="{D429A349-7855-92D1-5C5A-FDB2E5937DB5}"/>
                </a:ext>
              </a:extLst>
            </p:cNvPr>
            <p:cNvSpPr/>
            <p:nvPr/>
          </p:nvSpPr>
          <p:spPr>
            <a:xfrm>
              <a:off x="-1596720" y="2875978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4" name="Graphic 166">
              <a:extLst>
                <a:ext uri="{FF2B5EF4-FFF2-40B4-BE49-F238E27FC236}">
                  <a16:creationId xmlns:a16="http://schemas.microsoft.com/office/drawing/2014/main" id="{61DDC011-5E19-66A1-63D1-62A2C41383DA}"/>
                </a:ext>
              </a:extLst>
            </p:cNvPr>
            <p:cNvSpPr/>
            <p:nvPr/>
          </p:nvSpPr>
          <p:spPr>
            <a:xfrm>
              <a:off x="-1596720" y="2985637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5" name="Graphic 166">
              <a:extLst>
                <a:ext uri="{FF2B5EF4-FFF2-40B4-BE49-F238E27FC236}">
                  <a16:creationId xmlns:a16="http://schemas.microsoft.com/office/drawing/2014/main" id="{C7D3253F-49B4-7E5D-A90C-DED79C27B5D2}"/>
                </a:ext>
              </a:extLst>
            </p:cNvPr>
            <p:cNvSpPr/>
            <p:nvPr/>
          </p:nvSpPr>
          <p:spPr>
            <a:xfrm>
              <a:off x="-1596720" y="3095294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6" name="Freeform: Shape 896">
              <a:extLst>
                <a:ext uri="{FF2B5EF4-FFF2-40B4-BE49-F238E27FC236}">
                  <a16:creationId xmlns:a16="http://schemas.microsoft.com/office/drawing/2014/main" id="{5B012586-25B9-3606-67D0-04DE2C5EF410}"/>
                </a:ext>
              </a:extLst>
            </p:cNvPr>
            <p:cNvSpPr/>
            <p:nvPr/>
          </p:nvSpPr>
          <p:spPr>
            <a:xfrm>
              <a:off x="-1395733" y="2738376"/>
              <a:ext cx="514350" cy="275205"/>
            </a:xfrm>
            <a:custGeom>
              <a:avLst/>
              <a:gdLst>
                <a:gd name="connsiteX0" fmla="*/ 395643 w 514350"/>
                <a:gd name="connsiteY0" fmla="*/ 176563 h 275205"/>
                <a:gd name="connsiteX1" fmla="*/ 330464 w 514350"/>
                <a:gd name="connsiteY1" fmla="*/ 270203 h 275205"/>
                <a:gd name="connsiteX2" fmla="*/ 359858 w 514350"/>
                <a:gd name="connsiteY2" fmla="*/ 270203 h 275205"/>
                <a:gd name="connsiteX3" fmla="*/ 408883 w 514350"/>
                <a:gd name="connsiteY3" fmla="*/ 195946 h 275205"/>
                <a:gd name="connsiteX4" fmla="*/ 395643 w 514350"/>
                <a:gd name="connsiteY4" fmla="*/ 176563 h 275205"/>
                <a:gd name="connsiteX5" fmla="*/ 483378 w 514350"/>
                <a:gd name="connsiteY5" fmla="*/ 270203 h 275205"/>
                <a:gd name="connsiteX6" fmla="*/ 514363 w 514350"/>
                <a:gd name="connsiteY6" fmla="*/ 270203 h 275205"/>
                <a:gd name="connsiteX7" fmla="*/ 437315 w 514350"/>
                <a:gd name="connsiteY7" fmla="*/ 156541 h 275205"/>
                <a:gd name="connsiteX8" fmla="*/ 507476 w 514350"/>
                <a:gd name="connsiteY8" fmla="*/ 55110 h 275205"/>
                <a:gd name="connsiteX9" fmla="*/ 478492 w 514350"/>
                <a:gd name="connsiteY9" fmla="*/ 55110 h 275205"/>
                <a:gd name="connsiteX10" fmla="*/ 423037 w 514350"/>
                <a:gd name="connsiteY10" fmla="*/ 137206 h 275205"/>
                <a:gd name="connsiteX11" fmla="*/ 408197 w 514350"/>
                <a:gd name="connsiteY11" fmla="*/ 158513 h 275205"/>
                <a:gd name="connsiteX12" fmla="*/ 483378 w 514350"/>
                <a:gd name="connsiteY12" fmla="*/ 270203 h 275205"/>
                <a:gd name="connsiteX13" fmla="*/ 410731 w 514350"/>
                <a:gd name="connsiteY13" fmla="*/ 118994 h 275205"/>
                <a:gd name="connsiteX14" fmla="*/ 367583 w 514350"/>
                <a:gd name="connsiteY14" fmla="*/ 55110 h 275205"/>
                <a:gd name="connsiteX15" fmla="*/ 336988 w 514350"/>
                <a:gd name="connsiteY15" fmla="*/ 55110 h 275205"/>
                <a:gd name="connsiteX16" fmla="*/ 395291 w 514350"/>
                <a:gd name="connsiteY16" fmla="*/ 140320 h 275205"/>
                <a:gd name="connsiteX17" fmla="*/ 410731 w 514350"/>
                <a:gd name="connsiteY17" fmla="*/ 118994 h 275205"/>
                <a:gd name="connsiteX18" fmla="*/ 212087 w 514350"/>
                <a:gd name="connsiteY18" fmla="*/ 136301 h 275205"/>
                <a:gd name="connsiteX19" fmla="*/ 170844 w 514350"/>
                <a:gd name="connsiteY19" fmla="*/ 109240 h 275205"/>
                <a:gd name="connsiteX20" fmla="*/ 157709 w 514350"/>
                <a:gd name="connsiteY20" fmla="*/ 70435 h 275205"/>
                <a:gd name="connsiteX21" fmla="*/ 179426 w 514350"/>
                <a:gd name="connsiteY21" fmla="*/ 19524 h 275205"/>
                <a:gd name="connsiteX22" fmla="*/ 236557 w 514350"/>
                <a:gd name="connsiteY22" fmla="*/ 27 h 275205"/>
                <a:gd name="connsiteX23" fmla="*/ 270323 w 514350"/>
                <a:gd name="connsiteY23" fmla="*/ 4008 h 275205"/>
                <a:gd name="connsiteX24" fmla="*/ 303718 w 514350"/>
                <a:gd name="connsiteY24" fmla="*/ 15171 h 275205"/>
                <a:gd name="connsiteX25" fmla="*/ 303718 w 514350"/>
                <a:gd name="connsiteY25" fmla="*/ 34478 h 275205"/>
                <a:gd name="connsiteX26" fmla="*/ 237643 w 514350"/>
                <a:gd name="connsiteY26" fmla="*/ 20848 h 275205"/>
                <a:gd name="connsiteX27" fmla="*/ 194580 w 514350"/>
                <a:gd name="connsiteY27" fmla="*/ 33526 h 275205"/>
                <a:gd name="connsiteX28" fmla="*/ 179607 w 514350"/>
                <a:gd name="connsiteY28" fmla="*/ 69683 h 275205"/>
                <a:gd name="connsiteX29" fmla="*/ 184179 w 514350"/>
                <a:gd name="connsiteY29" fmla="*/ 91066 h 275205"/>
                <a:gd name="connsiteX30" fmla="*/ 199133 w 514350"/>
                <a:gd name="connsiteY30" fmla="*/ 105830 h 275205"/>
                <a:gd name="connsiteX31" fmla="*/ 228889 w 514350"/>
                <a:gd name="connsiteY31" fmla="*/ 120022 h 275205"/>
                <a:gd name="connsiteX32" fmla="*/ 267951 w 514350"/>
                <a:gd name="connsiteY32" fmla="*/ 135548 h 275205"/>
                <a:gd name="connsiteX33" fmla="*/ 306270 w 514350"/>
                <a:gd name="connsiteY33" fmla="*/ 161485 h 275205"/>
                <a:gd name="connsiteX34" fmla="*/ 318319 w 514350"/>
                <a:gd name="connsiteY34" fmla="*/ 199899 h 275205"/>
                <a:gd name="connsiteX35" fmla="*/ 294412 w 514350"/>
                <a:gd name="connsiteY35" fmla="*/ 254411 h 275205"/>
                <a:gd name="connsiteX36" fmla="*/ 231442 w 514350"/>
                <a:gd name="connsiteY36" fmla="*/ 275232 h 275205"/>
                <a:gd name="connsiteX37" fmla="*/ 159166 w 514350"/>
                <a:gd name="connsiteY37" fmla="*/ 259326 h 275205"/>
                <a:gd name="connsiteX38" fmla="*/ 159166 w 514350"/>
                <a:gd name="connsiteY38" fmla="*/ 240028 h 275205"/>
                <a:gd name="connsiteX39" fmla="*/ 229613 w 514350"/>
                <a:gd name="connsiteY39" fmla="*/ 254411 h 275205"/>
                <a:gd name="connsiteX40" fmla="*/ 277981 w 514350"/>
                <a:gd name="connsiteY40" fmla="*/ 239647 h 275205"/>
                <a:gd name="connsiteX41" fmla="*/ 296050 w 514350"/>
                <a:gd name="connsiteY41" fmla="*/ 199528 h 275205"/>
                <a:gd name="connsiteX42" fmla="*/ 286201 w 514350"/>
                <a:gd name="connsiteY42" fmla="*/ 173020 h 275205"/>
                <a:gd name="connsiteX43" fmla="*/ 254445 w 514350"/>
                <a:gd name="connsiteY43" fmla="*/ 153341 h 275205"/>
                <a:gd name="connsiteX44" fmla="*/ 212087 w 514350"/>
                <a:gd name="connsiteY44" fmla="*/ 136301 h 275205"/>
                <a:gd name="connsiteX45" fmla="*/ 13 w 514350"/>
                <a:gd name="connsiteY45" fmla="*/ 268793 h 275205"/>
                <a:gd name="connsiteX46" fmla="*/ 13 w 514350"/>
                <a:gd name="connsiteY46" fmla="*/ 6465 h 275205"/>
                <a:gd name="connsiteX47" fmla="*/ 142002 w 514350"/>
                <a:gd name="connsiteY47" fmla="*/ 6465 h 275205"/>
                <a:gd name="connsiteX48" fmla="*/ 142002 w 514350"/>
                <a:gd name="connsiteY48" fmla="*/ 26535 h 275205"/>
                <a:gd name="connsiteX49" fmla="*/ 21549 w 514350"/>
                <a:gd name="connsiteY49" fmla="*/ 26535 h 275205"/>
                <a:gd name="connsiteX50" fmla="*/ 21549 w 514350"/>
                <a:gd name="connsiteY50" fmla="*/ 126842 h 275205"/>
                <a:gd name="connsiteX51" fmla="*/ 123390 w 514350"/>
                <a:gd name="connsiteY51" fmla="*/ 126842 h 275205"/>
                <a:gd name="connsiteX52" fmla="*/ 123390 w 514350"/>
                <a:gd name="connsiteY52" fmla="*/ 146902 h 275205"/>
                <a:gd name="connsiteX53" fmla="*/ 21549 w 514350"/>
                <a:gd name="connsiteY53" fmla="*/ 146902 h 275205"/>
                <a:gd name="connsiteX54" fmla="*/ 21549 w 514350"/>
                <a:gd name="connsiteY54" fmla="*/ 268793 h 275205"/>
                <a:gd name="connsiteX55" fmla="*/ 13 w 514350"/>
                <a:gd name="connsiteY55" fmla="*/ 268793 h 27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275205">
                  <a:moveTo>
                    <a:pt x="395643" y="176563"/>
                  </a:moveTo>
                  <a:lnTo>
                    <a:pt x="330464" y="270203"/>
                  </a:lnTo>
                  <a:lnTo>
                    <a:pt x="359858" y="270203"/>
                  </a:lnTo>
                  <a:lnTo>
                    <a:pt x="408883" y="195946"/>
                  </a:lnTo>
                  <a:lnTo>
                    <a:pt x="395643" y="176563"/>
                  </a:lnTo>
                  <a:close/>
                  <a:moveTo>
                    <a:pt x="483378" y="270203"/>
                  </a:moveTo>
                  <a:lnTo>
                    <a:pt x="514363" y="270203"/>
                  </a:lnTo>
                  <a:lnTo>
                    <a:pt x="437315" y="156541"/>
                  </a:lnTo>
                  <a:lnTo>
                    <a:pt x="507476" y="55110"/>
                  </a:lnTo>
                  <a:lnTo>
                    <a:pt x="478492" y="55110"/>
                  </a:lnTo>
                  <a:lnTo>
                    <a:pt x="423037" y="137206"/>
                  </a:lnTo>
                  <a:lnTo>
                    <a:pt x="408197" y="158513"/>
                  </a:lnTo>
                  <a:lnTo>
                    <a:pt x="483378" y="270203"/>
                  </a:lnTo>
                  <a:close/>
                  <a:moveTo>
                    <a:pt x="410731" y="118994"/>
                  </a:moveTo>
                  <a:lnTo>
                    <a:pt x="367583" y="55110"/>
                  </a:lnTo>
                  <a:lnTo>
                    <a:pt x="336988" y="55110"/>
                  </a:lnTo>
                  <a:lnTo>
                    <a:pt x="395291" y="140320"/>
                  </a:lnTo>
                  <a:lnTo>
                    <a:pt x="410731" y="118994"/>
                  </a:lnTo>
                  <a:close/>
                  <a:moveTo>
                    <a:pt x="212087" y="136301"/>
                  </a:moveTo>
                  <a:cubicBezTo>
                    <a:pt x="193361" y="128738"/>
                    <a:pt x="179607" y="119718"/>
                    <a:pt x="170844" y="109240"/>
                  </a:cubicBezTo>
                  <a:cubicBezTo>
                    <a:pt x="162081" y="98772"/>
                    <a:pt x="157709" y="85837"/>
                    <a:pt x="157709" y="70435"/>
                  </a:cubicBezTo>
                  <a:cubicBezTo>
                    <a:pt x="157709" y="49499"/>
                    <a:pt x="164948" y="32526"/>
                    <a:pt x="179426" y="19524"/>
                  </a:cubicBezTo>
                  <a:cubicBezTo>
                    <a:pt x="193894" y="6532"/>
                    <a:pt x="212944" y="27"/>
                    <a:pt x="236557" y="27"/>
                  </a:cubicBezTo>
                  <a:cubicBezTo>
                    <a:pt x="247263" y="27"/>
                    <a:pt x="258512" y="1350"/>
                    <a:pt x="270323" y="4008"/>
                  </a:cubicBezTo>
                  <a:cubicBezTo>
                    <a:pt x="282115" y="6656"/>
                    <a:pt x="293250" y="10380"/>
                    <a:pt x="303718" y="15171"/>
                  </a:cubicBezTo>
                  <a:lnTo>
                    <a:pt x="303718" y="34478"/>
                  </a:lnTo>
                  <a:cubicBezTo>
                    <a:pt x="278895" y="25392"/>
                    <a:pt x="256874" y="20848"/>
                    <a:pt x="237643" y="20848"/>
                  </a:cubicBezTo>
                  <a:cubicBezTo>
                    <a:pt x="218907" y="20848"/>
                    <a:pt x="204553" y="25077"/>
                    <a:pt x="194580" y="33526"/>
                  </a:cubicBezTo>
                  <a:cubicBezTo>
                    <a:pt x="184598" y="41994"/>
                    <a:pt x="179607" y="54033"/>
                    <a:pt x="179607" y="69683"/>
                  </a:cubicBezTo>
                  <a:cubicBezTo>
                    <a:pt x="179607" y="78522"/>
                    <a:pt x="181131" y="85647"/>
                    <a:pt x="184179" y="91066"/>
                  </a:cubicBezTo>
                  <a:cubicBezTo>
                    <a:pt x="187208" y="96496"/>
                    <a:pt x="192208" y="101420"/>
                    <a:pt x="199133" y="105830"/>
                  </a:cubicBezTo>
                  <a:cubicBezTo>
                    <a:pt x="206077" y="110250"/>
                    <a:pt x="215992" y="114984"/>
                    <a:pt x="228889" y="120022"/>
                  </a:cubicBezTo>
                  <a:lnTo>
                    <a:pt x="267951" y="135548"/>
                  </a:lnTo>
                  <a:cubicBezTo>
                    <a:pt x="285468" y="142616"/>
                    <a:pt x="298241" y="151255"/>
                    <a:pt x="306270" y="161485"/>
                  </a:cubicBezTo>
                  <a:cubicBezTo>
                    <a:pt x="314300" y="171696"/>
                    <a:pt x="318319" y="184507"/>
                    <a:pt x="318319" y="199899"/>
                  </a:cubicBezTo>
                  <a:cubicBezTo>
                    <a:pt x="318319" y="222369"/>
                    <a:pt x="310347" y="240533"/>
                    <a:pt x="294412" y="254411"/>
                  </a:cubicBezTo>
                  <a:cubicBezTo>
                    <a:pt x="278467" y="268289"/>
                    <a:pt x="257474" y="275232"/>
                    <a:pt x="231442" y="275232"/>
                  </a:cubicBezTo>
                  <a:cubicBezTo>
                    <a:pt x="204429" y="275232"/>
                    <a:pt x="180340" y="269927"/>
                    <a:pt x="159166" y="259326"/>
                  </a:cubicBezTo>
                  <a:lnTo>
                    <a:pt x="159166" y="240028"/>
                  </a:lnTo>
                  <a:cubicBezTo>
                    <a:pt x="184712" y="249620"/>
                    <a:pt x="208201" y="254411"/>
                    <a:pt x="229613" y="254411"/>
                  </a:cubicBezTo>
                  <a:cubicBezTo>
                    <a:pt x="249806" y="254411"/>
                    <a:pt x="265941" y="249486"/>
                    <a:pt x="277981" y="239647"/>
                  </a:cubicBezTo>
                  <a:cubicBezTo>
                    <a:pt x="290030" y="229808"/>
                    <a:pt x="296050" y="216435"/>
                    <a:pt x="296050" y="199528"/>
                  </a:cubicBezTo>
                  <a:cubicBezTo>
                    <a:pt x="296050" y="189174"/>
                    <a:pt x="292764" y="180344"/>
                    <a:pt x="286201" y="173020"/>
                  </a:cubicBezTo>
                  <a:cubicBezTo>
                    <a:pt x="279619" y="165704"/>
                    <a:pt x="269037" y="159151"/>
                    <a:pt x="254445" y="153341"/>
                  </a:cubicBezTo>
                  <a:lnTo>
                    <a:pt x="212087" y="136301"/>
                  </a:lnTo>
                  <a:close/>
                  <a:moveTo>
                    <a:pt x="13" y="268793"/>
                  </a:moveTo>
                  <a:lnTo>
                    <a:pt x="13" y="6465"/>
                  </a:lnTo>
                  <a:lnTo>
                    <a:pt x="142002" y="6465"/>
                  </a:lnTo>
                  <a:lnTo>
                    <a:pt x="142002" y="26535"/>
                  </a:lnTo>
                  <a:lnTo>
                    <a:pt x="21549" y="26535"/>
                  </a:lnTo>
                  <a:lnTo>
                    <a:pt x="21549" y="126842"/>
                  </a:lnTo>
                  <a:lnTo>
                    <a:pt x="123390" y="126842"/>
                  </a:lnTo>
                  <a:lnTo>
                    <a:pt x="123390" y="146902"/>
                  </a:lnTo>
                  <a:lnTo>
                    <a:pt x="21549" y="146902"/>
                  </a:lnTo>
                  <a:lnTo>
                    <a:pt x="21549" y="268793"/>
                  </a:lnTo>
                  <a:lnTo>
                    <a:pt x="13" y="268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577" name="Group 576">
            <a:extLst>
              <a:ext uri="{FF2B5EF4-FFF2-40B4-BE49-F238E27FC236}">
                <a16:creationId xmlns:a16="http://schemas.microsoft.com/office/drawing/2014/main" id="{2BAE321E-ED80-B2BA-6D26-9B05E645B0A7}"/>
              </a:ext>
            </a:extLst>
          </p:cNvPr>
          <p:cNvGrpSpPr>
            <a:grpSpLocks noChangeAspect="1"/>
          </p:cNvGrpSpPr>
          <p:nvPr/>
        </p:nvGrpSpPr>
        <p:grpSpPr>
          <a:xfrm>
            <a:off x="1347689" y="4206436"/>
            <a:ext cx="450427" cy="448056"/>
            <a:chOff x="-1596720" y="2421550"/>
            <a:chExt cx="914400" cy="909585"/>
          </a:xfrm>
        </p:grpSpPr>
        <p:sp>
          <p:nvSpPr>
            <p:cNvPr id="578" name="Graphic 166">
              <a:extLst>
                <a:ext uri="{FF2B5EF4-FFF2-40B4-BE49-F238E27FC236}">
                  <a16:creationId xmlns:a16="http://schemas.microsoft.com/office/drawing/2014/main" id="{B878E23A-38B2-0CEC-5663-118BA3AE7A1D}"/>
                </a:ext>
              </a:extLst>
            </p:cNvPr>
            <p:cNvSpPr/>
            <p:nvPr/>
          </p:nvSpPr>
          <p:spPr>
            <a:xfrm>
              <a:off x="-1503501" y="2511031"/>
              <a:ext cx="729887" cy="729895"/>
            </a:xfrm>
            <a:custGeom>
              <a:avLst/>
              <a:gdLst>
                <a:gd name="connsiteX0" fmla="*/ 400707 w 801424"/>
                <a:gd name="connsiteY0" fmla="*/ 0 h 801433"/>
                <a:gd name="connsiteX1" fmla="*/ 745569 w 801424"/>
                <a:gd name="connsiteY1" fmla="*/ 0 h 801433"/>
                <a:gd name="connsiteX2" fmla="*/ 801424 w 801424"/>
                <a:gd name="connsiteY2" fmla="*/ 55864 h 801433"/>
                <a:gd name="connsiteX3" fmla="*/ 801424 w 801424"/>
                <a:gd name="connsiteY3" fmla="*/ 745569 h 801433"/>
                <a:gd name="connsiteX4" fmla="*/ 745569 w 801424"/>
                <a:gd name="connsiteY4" fmla="*/ 801433 h 801433"/>
                <a:gd name="connsiteX5" fmla="*/ 55855 w 801424"/>
                <a:gd name="connsiteY5" fmla="*/ 801433 h 801433"/>
                <a:gd name="connsiteX6" fmla="*/ 0 w 801424"/>
                <a:gd name="connsiteY6" fmla="*/ 745569 h 801433"/>
                <a:gd name="connsiteX7" fmla="*/ 0 w 801424"/>
                <a:gd name="connsiteY7" fmla="*/ 55864 h 801433"/>
                <a:gd name="connsiteX8" fmla="*/ 55855 w 801424"/>
                <a:gd name="connsiteY8" fmla="*/ 0 h 801433"/>
                <a:gd name="connsiteX9" fmla="*/ 400707 w 801424"/>
                <a:gd name="connsiteY9" fmla="*/ 0 h 80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424" h="801433">
                  <a:moveTo>
                    <a:pt x="400707" y="0"/>
                  </a:moveTo>
                  <a:cubicBezTo>
                    <a:pt x="400707" y="0"/>
                    <a:pt x="745569" y="0"/>
                    <a:pt x="745569" y="0"/>
                  </a:cubicBezTo>
                  <a:cubicBezTo>
                    <a:pt x="776211" y="0"/>
                    <a:pt x="801424" y="25213"/>
                    <a:pt x="801424" y="55864"/>
                  </a:cubicBezTo>
                  <a:cubicBezTo>
                    <a:pt x="801424" y="55864"/>
                    <a:pt x="801424" y="745569"/>
                    <a:pt x="801424" y="745569"/>
                  </a:cubicBezTo>
                  <a:cubicBezTo>
                    <a:pt x="801424" y="776211"/>
                    <a:pt x="776211" y="801433"/>
                    <a:pt x="745569" y="801433"/>
                  </a:cubicBezTo>
                  <a:cubicBezTo>
                    <a:pt x="745569" y="801433"/>
                    <a:pt x="55855" y="801433"/>
                    <a:pt x="55855" y="801433"/>
                  </a:cubicBezTo>
                  <a:cubicBezTo>
                    <a:pt x="25213" y="801433"/>
                    <a:pt x="0" y="776211"/>
                    <a:pt x="0" y="745569"/>
                  </a:cubicBezTo>
                  <a:cubicBezTo>
                    <a:pt x="0" y="745569"/>
                    <a:pt x="0" y="55864"/>
                    <a:pt x="0" y="55864"/>
                  </a:cubicBezTo>
                  <a:cubicBezTo>
                    <a:pt x="0" y="25213"/>
                    <a:pt x="25213" y="0"/>
                    <a:pt x="55855" y="0"/>
                  </a:cubicBezTo>
                  <a:cubicBezTo>
                    <a:pt x="55855" y="0"/>
                    <a:pt x="400707" y="0"/>
                    <a:pt x="400707" y="0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79" name="Graphic 166">
              <a:extLst>
                <a:ext uri="{FF2B5EF4-FFF2-40B4-BE49-F238E27FC236}">
                  <a16:creationId xmlns:a16="http://schemas.microsoft.com/office/drawing/2014/main" id="{705560C2-17D4-DA43-3B1A-F5E8AC5AECE3}"/>
                </a:ext>
              </a:extLst>
            </p:cNvPr>
            <p:cNvSpPr/>
            <p:nvPr/>
          </p:nvSpPr>
          <p:spPr>
            <a:xfrm>
              <a:off x="-1357877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0" name="Graphic 166">
              <a:extLst>
                <a:ext uri="{FF2B5EF4-FFF2-40B4-BE49-F238E27FC236}">
                  <a16:creationId xmlns:a16="http://schemas.microsoft.com/office/drawing/2014/main" id="{4DA790A1-E978-1185-5411-CD35325CADB9}"/>
                </a:ext>
              </a:extLst>
            </p:cNvPr>
            <p:cNvSpPr/>
            <p:nvPr/>
          </p:nvSpPr>
          <p:spPr>
            <a:xfrm>
              <a:off x="-1248220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1" name="Graphic 166">
              <a:extLst>
                <a:ext uri="{FF2B5EF4-FFF2-40B4-BE49-F238E27FC236}">
                  <a16:creationId xmlns:a16="http://schemas.microsoft.com/office/drawing/2014/main" id="{0A98FD5C-B622-35DA-45D4-F1D395CCE094}"/>
                </a:ext>
              </a:extLst>
            </p:cNvPr>
            <p:cNvSpPr/>
            <p:nvPr/>
          </p:nvSpPr>
          <p:spPr>
            <a:xfrm>
              <a:off x="-1138561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2" name="Graphic 166">
              <a:extLst>
                <a:ext uri="{FF2B5EF4-FFF2-40B4-BE49-F238E27FC236}">
                  <a16:creationId xmlns:a16="http://schemas.microsoft.com/office/drawing/2014/main" id="{CA0EC232-5BBF-1106-05F3-BF4BF582C5D7}"/>
                </a:ext>
              </a:extLst>
            </p:cNvPr>
            <p:cNvSpPr/>
            <p:nvPr/>
          </p:nvSpPr>
          <p:spPr>
            <a:xfrm>
              <a:off x="-1028895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3" name="Graphic 166">
              <a:extLst>
                <a:ext uri="{FF2B5EF4-FFF2-40B4-BE49-F238E27FC236}">
                  <a16:creationId xmlns:a16="http://schemas.microsoft.com/office/drawing/2014/main" id="{42D5E4F7-686C-3860-EAA7-4F74B1B7535E}"/>
                </a:ext>
              </a:extLst>
            </p:cNvPr>
            <p:cNvSpPr/>
            <p:nvPr/>
          </p:nvSpPr>
          <p:spPr>
            <a:xfrm>
              <a:off x="-919238" y="2421550"/>
              <a:ext cx="8675" cy="90617"/>
            </a:xfrm>
            <a:custGeom>
              <a:avLst/>
              <a:gdLst>
                <a:gd name="connsiteX0" fmla="*/ 0 w 9525"/>
                <a:gd name="connsiteY0" fmla="*/ 0 h 99498"/>
                <a:gd name="connsiteX1" fmla="*/ 0 w 9525"/>
                <a:gd name="connsiteY1" fmla="*/ 99498 h 9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498">
                  <a:moveTo>
                    <a:pt x="0" y="0"/>
                  </a:moveTo>
                  <a:lnTo>
                    <a:pt x="0" y="99498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4" name="Graphic 166">
              <a:extLst>
                <a:ext uri="{FF2B5EF4-FFF2-40B4-BE49-F238E27FC236}">
                  <a16:creationId xmlns:a16="http://schemas.microsoft.com/office/drawing/2014/main" id="{C3D856BE-03F5-7BA4-FD18-107289115CCD}"/>
                </a:ext>
              </a:extLst>
            </p:cNvPr>
            <p:cNvSpPr/>
            <p:nvPr/>
          </p:nvSpPr>
          <p:spPr>
            <a:xfrm>
              <a:off x="-1357877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5" name="Graphic 166">
              <a:extLst>
                <a:ext uri="{FF2B5EF4-FFF2-40B4-BE49-F238E27FC236}">
                  <a16:creationId xmlns:a16="http://schemas.microsoft.com/office/drawing/2014/main" id="{9E33BAB3-16EB-0E18-5250-8E005EC1E2D6}"/>
                </a:ext>
              </a:extLst>
            </p:cNvPr>
            <p:cNvSpPr/>
            <p:nvPr/>
          </p:nvSpPr>
          <p:spPr>
            <a:xfrm>
              <a:off x="-1248220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6" name="Graphic 166">
              <a:extLst>
                <a:ext uri="{FF2B5EF4-FFF2-40B4-BE49-F238E27FC236}">
                  <a16:creationId xmlns:a16="http://schemas.microsoft.com/office/drawing/2014/main" id="{84354965-3E26-8D93-6157-319045F14243}"/>
                </a:ext>
              </a:extLst>
            </p:cNvPr>
            <p:cNvSpPr/>
            <p:nvPr/>
          </p:nvSpPr>
          <p:spPr>
            <a:xfrm>
              <a:off x="-1138561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7" name="Graphic 166">
              <a:extLst>
                <a:ext uri="{FF2B5EF4-FFF2-40B4-BE49-F238E27FC236}">
                  <a16:creationId xmlns:a16="http://schemas.microsoft.com/office/drawing/2014/main" id="{BD0E176B-A6CB-B673-DC65-BB62F18BC738}"/>
                </a:ext>
              </a:extLst>
            </p:cNvPr>
            <p:cNvSpPr/>
            <p:nvPr/>
          </p:nvSpPr>
          <p:spPr>
            <a:xfrm>
              <a:off x="-1028895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8" name="Graphic 166">
              <a:extLst>
                <a:ext uri="{FF2B5EF4-FFF2-40B4-BE49-F238E27FC236}">
                  <a16:creationId xmlns:a16="http://schemas.microsoft.com/office/drawing/2014/main" id="{BDF46215-F369-811E-44D1-05453A4F15E0}"/>
                </a:ext>
              </a:extLst>
            </p:cNvPr>
            <p:cNvSpPr/>
            <p:nvPr/>
          </p:nvSpPr>
          <p:spPr>
            <a:xfrm>
              <a:off x="-919238" y="3240510"/>
              <a:ext cx="8675" cy="90625"/>
            </a:xfrm>
            <a:custGeom>
              <a:avLst/>
              <a:gdLst>
                <a:gd name="connsiteX0" fmla="*/ 0 w 9525"/>
                <a:gd name="connsiteY0" fmla="*/ 0 h 99507"/>
                <a:gd name="connsiteX1" fmla="*/ 0 w 9525"/>
                <a:gd name="connsiteY1" fmla="*/ 99507 h 9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9507">
                  <a:moveTo>
                    <a:pt x="0" y="0"/>
                  </a:moveTo>
                  <a:lnTo>
                    <a:pt x="0" y="99507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89" name="Graphic 166">
              <a:extLst>
                <a:ext uri="{FF2B5EF4-FFF2-40B4-BE49-F238E27FC236}">
                  <a16:creationId xmlns:a16="http://schemas.microsoft.com/office/drawing/2014/main" id="{0DE260B8-1915-A09D-2008-CB26ACDEEE33}"/>
                </a:ext>
              </a:extLst>
            </p:cNvPr>
            <p:cNvSpPr/>
            <p:nvPr/>
          </p:nvSpPr>
          <p:spPr>
            <a:xfrm>
              <a:off x="-772937" y="2656662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0" name="Graphic 166">
              <a:extLst>
                <a:ext uri="{FF2B5EF4-FFF2-40B4-BE49-F238E27FC236}">
                  <a16:creationId xmlns:a16="http://schemas.microsoft.com/office/drawing/2014/main" id="{D07E51C5-E00A-4CB9-8FB5-9214D11E3AE2}"/>
                </a:ext>
              </a:extLst>
            </p:cNvPr>
            <p:cNvSpPr/>
            <p:nvPr/>
          </p:nvSpPr>
          <p:spPr>
            <a:xfrm>
              <a:off x="-772937" y="2766321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1" name="Graphic 166">
              <a:extLst>
                <a:ext uri="{FF2B5EF4-FFF2-40B4-BE49-F238E27FC236}">
                  <a16:creationId xmlns:a16="http://schemas.microsoft.com/office/drawing/2014/main" id="{F5E211D1-53F2-6016-C3A6-F7A45D4B958E}"/>
                </a:ext>
              </a:extLst>
            </p:cNvPr>
            <p:cNvSpPr/>
            <p:nvPr/>
          </p:nvSpPr>
          <p:spPr>
            <a:xfrm>
              <a:off x="-772937" y="2875978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2" name="Graphic 166">
              <a:extLst>
                <a:ext uri="{FF2B5EF4-FFF2-40B4-BE49-F238E27FC236}">
                  <a16:creationId xmlns:a16="http://schemas.microsoft.com/office/drawing/2014/main" id="{59EC54F7-FF78-F8CE-BF39-E031B08AAE2D}"/>
                </a:ext>
              </a:extLst>
            </p:cNvPr>
            <p:cNvSpPr/>
            <p:nvPr/>
          </p:nvSpPr>
          <p:spPr>
            <a:xfrm>
              <a:off x="-772937" y="2985637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3" name="Graphic 166">
              <a:extLst>
                <a:ext uri="{FF2B5EF4-FFF2-40B4-BE49-F238E27FC236}">
                  <a16:creationId xmlns:a16="http://schemas.microsoft.com/office/drawing/2014/main" id="{50D2476A-AB7E-44D3-18D2-8B41E60B3777}"/>
                </a:ext>
              </a:extLst>
            </p:cNvPr>
            <p:cNvSpPr/>
            <p:nvPr/>
          </p:nvSpPr>
          <p:spPr>
            <a:xfrm>
              <a:off x="-772937" y="3095294"/>
              <a:ext cx="90617" cy="8675"/>
            </a:xfrm>
            <a:custGeom>
              <a:avLst/>
              <a:gdLst>
                <a:gd name="connsiteX0" fmla="*/ 99498 w 99498"/>
                <a:gd name="connsiteY0" fmla="*/ 0 h 9525"/>
                <a:gd name="connsiteX1" fmla="*/ 0 w 9949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498" h="9525">
                  <a:moveTo>
                    <a:pt x="9949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4" name="Graphic 166">
              <a:extLst>
                <a:ext uri="{FF2B5EF4-FFF2-40B4-BE49-F238E27FC236}">
                  <a16:creationId xmlns:a16="http://schemas.microsoft.com/office/drawing/2014/main" id="{7818F908-5021-24DA-3F6F-1E5EFC5A1EBF}"/>
                </a:ext>
              </a:extLst>
            </p:cNvPr>
            <p:cNvSpPr/>
            <p:nvPr/>
          </p:nvSpPr>
          <p:spPr>
            <a:xfrm>
              <a:off x="-1596720" y="2656662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5" name="Graphic 166">
              <a:extLst>
                <a:ext uri="{FF2B5EF4-FFF2-40B4-BE49-F238E27FC236}">
                  <a16:creationId xmlns:a16="http://schemas.microsoft.com/office/drawing/2014/main" id="{A105E7EC-F3D0-F950-86D6-8520B6ABB5F5}"/>
                </a:ext>
              </a:extLst>
            </p:cNvPr>
            <p:cNvSpPr/>
            <p:nvPr/>
          </p:nvSpPr>
          <p:spPr>
            <a:xfrm>
              <a:off x="-1596720" y="2766321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6" name="Graphic 166">
              <a:extLst>
                <a:ext uri="{FF2B5EF4-FFF2-40B4-BE49-F238E27FC236}">
                  <a16:creationId xmlns:a16="http://schemas.microsoft.com/office/drawing/2014/main" id="{1982822A-07DA-7D78-0BE7-753AA65CB823}"/>
                </a:ext>
              </a:extLst>
            </p:cNvPr>
            <p:cNvSpPr/>
            <p:nvPr/>
          </p:nvSpPr>
          <p:spPr>
            <a:xfrm>
              <a:off x="-1596720" y="2875978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7" name="Graphic 166">
              <a:extLst>
                <a:ext uri="{FF2B5EF4-FFF2-40B4-BE49-F238E27FC236}">
                  <a16:creationId xmlns:a16="http://schemas.microsoft.com/office/drawing/2014/main" id="{DD3AB3A4-0D35-FADD-3335-E521C6DF4F6C}"/>
                </a:ext>
              </a:extLst>
            </p:cNvPr>
            <p:cNvSpPr/>
            <p:nvPr/>
          </p:nvSpPr>
          <p:spPr>
            <a:xfrm>
              <a:off x="-1596720" y="2985637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8" name="Graphic 166">
              <a:extLst>
                <a:ext uri="{FF2B5EF4-FFF2-40B4-BE49-F238E27FC236}">
                  <a16:creationId xmlns:a16="http://schemas.microsoft.com/office/drawing/2014/main" id="{28FF1505-7A1B-546F-42CC-29CB15E6BE22}"/>
                </a:ext>
              </a:extLst>
            </p:cNvPr>
            <p:cNvSpPr/>
            <p:nvPr/>
          </p:nvSpPr>
          <p:spPr>
            <a:xfrm>
              <a:off x="-1596720" y="3095294"/>
              <a:ext cx="90625" cy="8675"/>
            </a:xfrm>
            <a:custGeom>
              <a:avLst/>
              <a:gdLst>
                <a:gd name="connsiteX0" fmla="*/ 99508 w 99507"/>
                <a:gd name="connsiteY0" fmla="*/ 0 h 9525"/>
                <a:gd name="connsiteX1" fmla="*/ 0 w 9950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507" h="9525">
                  <a:moveTo>
                    <a:pt x="99508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599" name="Freeform: Shape 874">
              <a:extLst>
                <a:ext uri="{FF2B5EF4-FFF2-40B4-BE49-F238E27FC236}">
                  <a16:creationId xmlns:a16="http://schemas.microsoft.com/office/drawing/2014/main" id="{4AA038AB-82C4-6202-A530-B4C8F196D46C}"/>
                </a:ext>
              </a:extLst>
            </p:cNvPr>
            <p:cNvSpPr/>
            <p:nvPr/>
          </p:nvSpPr>
          <p:spPr>
            <a:xfrm>
              <a:off x="-1395733" y="2738376"/>
              <a:ext cx="514350" cy="275205"/>
            </a:xfrm>
            <a:custGeom>
              <a:avLst/>
              <a:gdLst>
                <a:gd name="connsiteX0" fmla="*/ 395643 w 514350"/>
                <a:gd name="connsiteY0" fmla="*/ 176563 h 275205"/>
                <a:gd name="connsiteX1" fmla="*/ 330464 w 514350"/>
                <a:gd name="connsiteY1" fmla="*/ 270203 h 275205"/>
                <a:gd name="connsiteX2" fmla="*/ 359858 w 514350"/>
                <a:gd name="connsiteY2" fmla="*/ 270203 h 275205"/>
                <a:gd name="connsiteX3" fmla="*/ 408883 w 514350"/>
                <a:gd name="connsiteY3" fmla="*/ 195946 h 275205"/>
                <a:gd name="connsiteX4" fmla="*/ 395643 w 514350"/>
                <a:gd name="connsiteY4" fmla="*/ 176563 h 275205"/>
                <a:gd name="connsiteX5" fmla="*/ 483378 w 514350"/>
                <a:gd name="connsiteY5" fmla="*/ 270203 h 275205"/>
                <a:gd name="connsiteX6" fmla="*/ 514363 w 514350"/>
                <a:gd name="connsiteY6" fmla="*/ 270203 h 275205"/>
                <a:gd name="connsiteX7" fmla="*/ 437315 w 514350"/>
                <a:gd name="connsiteY7" fmla="*/ 156541 h 275205"/>
                <a:gd name="connsiteX8" fmla="*/ 507476 w 514350"/>
                <a:gd name="connsiteY8" fmla="*/ 55110 h 275205"/>
                <a:gd name="connsiteX9" fmla="*/ 478492 w 514350"/>
                <a:gd name="connsiteY9" fmla="*/ 55110 h 275205"/>
                <a:gd name="connsiteX10" fmla="*/ 423037 w 514350"/>
                <a:gd name="connsiteY10" fmla="*/ 137206 h 275205"/>
                <a:gd name="connsiteX11" fmla="*/ 408197 w 514350"/>
                <a:gd name="connsiteY11" fmla="*/ 158513 h 275205"/>
                <a:gd name="connsiteX12" fmla="*/ 483378 w 514350"/>
                <a:gd name="connsiteY12" fmla="*/ 270203 h 275205"/>
                <a:gd name="connsiteX13" fmla="*/ 410731 w 514350"/>
                <a:gd name="connsiteY13" fmla="*/ 118994 h 275205"/>
                <a:gd name="connsiteX14" fmla="*/ 367583 w 514350"/>
                <a:gd name="connsiteY14" fmla="*/ 55110 h 275205"/>
                <a:gd name="connsiteX15" fmla="*/ 336988 w 514350"/>
                <a:gd name="connsiteY15" fmla="*/ 55110 h 275205"/>
                <a:gd name="connsiteX16" fmla="*/ 395291 w 514350"/>
                <a:gd name="connsiteY16" fmla="*/ 140320 h 275205"/>
                <a:gd name="connsiteX17" fmla="*/ 410731 w 514350"/>
                <a:gd name="connsiteY17" fmla="*/ 118994 h 275205"/>
                <a:gd name="connsiteX18" fmla="*/ 212087 w 514350"/>
                <a:gd name="connsiteY18" fmla="*/ 136301 h 275205"/>
                <a:gd name="connsiteX19" fmla="*/ 170844 w 514350"/>
                <a:gd name="connsiteY19" fmla="*/ 109240 h 275205"/>
                <a:gd name="connsiteX20" fmla="*/ 157709 w 514350"/>
                <a:gd name="connsiteY20" fmla="*/ 70435 h 275205"/>
                <a:gd name="connsiteX21" fmla="*/ 179426 w 514350"/>
                <a:gd name="connsiteY21" fmla="*/ 19524 h 275205"/>
                <a:gd name="connsiteX22" fmla="*/ 236557 w 514350"/>
                <a:gd name="connsiteY22" fmla="*/ 27 h 275205"/>
                <a:gd name="connsiteX23" fmla="*/ 270323 w 514350"/>
                <a:gd name="connsiteY23" fmla="*/ 4008 h 275205"/>
                <a:gd name="connsiteX24" fmla="*/ 303718 w 514350"/>
                <a:gd name="connsiteY24" fmla="*/ 15171 h 275205"/>
                <a:gd name="connsiteX25" fmla="*/ 303718 w 514350"/>
                <a:gd name="connsiteY25" fmla="*/ 34478 h 275205"/>
                <a:gd name="connsiteX26" fmla="*/ 237643 w 514350"/>
                <a:gd name="connsiteY26" fmla="*/ 20848 h 275205"/>
                <a:gd name="connsiteX27" fmla="*/ 194580 w 514350"/>
                <a:gd name="connsiteY27" fmla="*/ 33526 h 275205"/>
                <a:gd name="connsiteX28" fmla="*/ 179607 w 514350"/>
                <a:gd name="connsiteY28" fmla="*/ 69683 h 275205"/>
                <a:gd name="connsiteX29" fmla="*/ 184179 w 514350"/>
                <a:gd name="connsiteY29" fmla="*/ 91066 h 275205"/>
                <a:gd name="connsiteX30" fmla="*/ 199133 w 514350"/>
                <a:gd name="connsiteY30" fmla="*/ 105830 h 275205"/>
                <a:gd name="connsiteX31" fmla="*/ 228889 w 514350"/>
                <a:gd name="connsiteY31" fmla="*/ 120022 h 275205"/>
                <a:gd name="connsiteX32" fmla="*/ 267951 w 514350"/>
                <a:gd name="connsiteY32" fmla="*/ 135548 h 275205"/>
                <a:gd name="connsiteX33" fmla="*/ 306270 w 514350"/>
                <a:gd name="connsiteY33" fmla="*/ 161485 h 275205"/>
                <a:gd name="connsiteX34" fmla="*/ 318319 w 514350"/>
                <a:gd name="connsiteY34" fmla="*/ 199899 h 275205"/>
                <a:gd name="connsiteX35" fmla="*/ 294412 w 514350"/>
                <a:gd name="connsiteY35" fmla="*/ 254411 h 275205"/>
                <a:gd name="connsiteX36" fmla="*/ 231442 w 514350"/>
                <a:gd name="connsiteY36" fmla="*/ 275232 h 275205"/>
                <a:gd name="connsiteX37" fmla="*/ 159166 w 514350"/>
                <a:gd name="connsiteY37" fmla="*/ 259326 h 275205"/>
                <a:gd name="connsiteX38" fmla="*/ 159166 w 514350"/>
                <a:gd name="connsiteY38" fmla="*/ 240028 h 275205"/>
                <a:gd name="connsiteX39" fmla="*/ 229613 w 514350"/>
                <a:gd name="connsiteY39" fmla="*/ 254411 h 275205"/>
                <a:gd name="connsiteX40" fmla="*/ 277981 w 514350"/>
                <a:gd name="connsiteY40" fmla="*/ 239647 h 275205"/>
                <a:gd name="connsiteX41" fmla="*/ 296050 w 514350"/>
                <a:gd name="connsiteY41" fmla="*/ 199528 h 275205"/>
                <a:gd name="connsiteX42" fmla="*/ 286201 w 514350"/>
                <a:gd name="connsiteY42" fmla="*/ 173020 h 275205"/>
                <a:gd name="connsiteX43" fmla="*/ 254445 w 514350"/>
                <a:gd name="connsiteY43" fmla="*/ 153341 h 275205"/>
                <a:gd name="connsiteX44" fmla="*/ 212087 w 514350"/>
                <a:gd name="connsiteY44" fmla="*/ 136301 h 275205"/>
                <a:gd name="connsiteX45" fmla="*/ 13 w 514350"/>
                <a:gd name="connsiteY45" fmla="*/ 268793 h 275205"/>
                <a:gd name="connsiteX46" fmla="*/ 13 w 514350"/>
                <a:gd name="connsiteY46" fmla="*/ 6465 h 275205"/>
                <a:gd name="connsiteX47" fmla="*/ 142002 w 514350"/>
                <a:gd name="connsiteY47" fmla="*/ 6465 h 275205"/>
                <a:gd name="connsiteX48" fmla="*/ 142002 w 514350"/>
                <a:gd name="connsiteY48" fmla="*/ 26535 h 275205"/>
                <a:gd name="connsiteX49" fmla="*/ 21549 w 514350"/>
                <a:gd name="connsiteY49" fmla="*/ 26535 h 275205"/>
                <a:gd name="connsiteX50" fmla="*/ 21549 w 514350"/>
                <a:gd name="connsiteY50" fmla="*/ 126842 h 275205"/>
                <a:gd name="connsiteX51" fmla="*/ 123390 w 514350"/>
                <a:gd name="connsiteY51" fmla="*/ 126842 h 275205"/>
                <a:gd name="connsiteX52" fmla="*/ 123390 w 514350"/>
                <a:gd name="connsiteY52" fmla="*/ 146902 h 275205"/>
                <a:gd name="connsiteX53" fmla="*/ 21549 w 514350"/>
                <a:gd name="connsiteY53" fmla="*/ 146902 h 275205"/>
                <a:gd name="connsiteX54" fmla="*/ 21549 w 514350"/>
                <a:gd name="connsiteY54" fmla="*/ 268793 h 275205"/>
                <a:gd name="connsiteX55" fmla="*/ 13 w 514350"/>
                <a:gd name="connsiteY55" fmla="*/ 268793 h 27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514350" h="275205">
                  <a:moveTo>
                    <a:pt x="395643" y="176563"/>
                  </a:moveTo>
                  <a:lnTo>
                    <a:pt x="330464" y="270203"/>
                  </a:lnTo>
                  <a:lnTo>
                    <a:pt x="359858" y="270203"/>
                  </a:lnTo>
                  <a:lnTo>
                    <a:pt x="408883" y="195946"/>
                  </a:lnTo>
                  <a:lnTo>
                    <a:pt x="395643" y="176563"/>
                  </a:lnTo>
                  <a:close/>
                  <a:moveTo>
                    <a:pt x="483378" y="270203"/>
                  </a:moveTo>
                  <a:lnTo>
                    <a:pt x="514363" y="270203"/>
                  </a:lnTo>
                  <a:lnTo>
                    <a:pt x="437315" y="156541"/>
                  </a:lnTo>
                  <a:lnTo>
                    <a:pt x="507476" y="55110"/>
                  </a:lnTo>
                  <a:lnTo>
                    <a:pt x="478492" y="55110"/>
                  </a:lnTo>
                  <a:lnTo>
                    <a:pt x="423037" y="137206"/>
                  </a:lnTo>
                  <a:lnTo>
                    <a:pt x="408197" y="158513"/>
                  </a:lnTo>
                  <a:lnTo>
                    <a:pt x="483378" y="270203"/>
                  </a:lnTo>
                  <a:close/>
                  <a:moveTo>
                    <a:pt x="410731" y="118994"/>
                  </a:moveTo>
                  <a:lnTo>
                    <a:pt x="367583" y="55110"/>
                  </a:lnTo>
                  <a:lnTo>
                    <a:pt x="336988" y="55110"/>
                  </a:lnTo>
                  <a:lnTo>
                    <a:pt x="395291" y="140320"/>
                  </a:lnTo>
                  <a:lnTo>
                    <a:pt x="410731" y="118994"/>
                  </a:lnTo>
                  <a:close/>
                  <a:moveTo>
                    <a:pt x="212087" y="136301"/>
                  </a:moveTo>
                  <a:cubicBezTo>
                    <a:pt x="193361" y="128738"/>
                    <a:pt x="179607" y="119718"/>
                    <a:pt x="170844" y="109240"/>
                  </a:cubicBezTo>
                  <a:cubicBezTo>
                    <a:pt x="162081" y="98772"/>
                    <a:pt x="157709" y="85837"/>
                    <a:pt x="157709" y="70435"/>
                  </a:cubicBezTo>
                  <a:cubicBezTo>
                    <a:pt x="157709" y="49499"/>
                    <a:pt x="164948" y="32526"/>
                    <a:pt x="179426" y="19524"/>
                  </a:cubicBezTo>
                  <a:cubicBezTo>
                    <a:pt x="193894" y="6532"/>
                    <a:pt x="212944" y="27"/>
                    <a:pt x="236557" y="27"/>
                  </a:cubicBezTo>
                  <a:cubicBezTo>
                    <a:pt x="247263" y="27"/>
                    <a:pt x="258512" y="1350"/>
                    <a:pt x="270323" y="4008"/>
                  </a:cubicBezTo>
                  <a:cubicBezTo>
                    <a:pt x="282115" y="6656"/>
                    <a:pt x="293250" y="10380"/>
                    <a:pt x="303718" y="15171"/>
                  </a:cubicBezTo>
                  <a:lnTo>
                    <a:pt x="303718" y="34478"/>
                  </a:lnTo>
                  <a:cubicBezTo>
                    <a:pt x="278895" y="25392"/>
                    <a:pt x="256874" y="20848"/>
                    <a:pt x="237643" y="20848"/>
                  </a:cubicBezTo>
                  <a:cubicBezTo>
                    <a:pt x="218907" y="20848"/>
                    <a:pt x="204553" y="25077"/>
                    <a:pt x="194580" y="33526"/>
                  </a:cubicBezTo>
                  <a:cubicBezTo>
                    <a:pt x="184598" y="41994"/>
                    <a:pt x="179607" y="54033"/>
                    <a:pt x="179607" y="69683"/>
                  </a:cubicBezTo>
                  <a:cubicBezTo>
                    <a:pt x="179607" y="78522"/>
                    <a:pt x="181131" y="85647"/>
                    <a:pt x="184179" y="91066"/>
                  </a:cubicBezTo>
                  <a:cubicBezTo>
                    <a:pt x="187208" y="96496"/>
                    <a:pt x="192208" y="101420"/>
                    <a:pt x="199133" y="105830"/>
                  </a:cubicBezTo>
                  <a:cubicBezTo>
                    <a:pt x="206077" y="110250"/>
                    <a:pt x="215992" y="114984"/>
                    <a:pt x="228889" y="120022"/>
                  </a:cubicBezTo>
                  <a:lnTo>
                    <a:pt x="267951" y="135548"/>
                  </a:lnTo>
                  <a:cubicBezTo>
                    <a:pt x="285468" y="142616"/>
                    <a:pt x="298241" y="151255"/>
                    <a:pt x="306270" y="161485"/>
                  </a:cubicBezTo>
                  <a:cubicBezTo>
                    <a:pt x="314300" y="171696"/>
                    <a:pt x="318319" y="184507"/>
                    <a:pt x="318319" y="199899"/>
                  </a:cubicBezTo>
                  <a:cubicBezTo>
                    <a:pt x="318319" y="222369"/>
                    <a:pt x="310347" y="240533"/>
                    <a:pt x="294412" y="254411"/>
                  </a:cubicBezTo>
                  <a:cubicBezTo>
                    <a:pt x="278467" y="268289"/>
                    <a:pt x="257474" y="275232"/>
                    <a:pt x="231442" y="275232"/>
                  </a:cubicBezTo>
                  <a:cubicBezTo>
                    <a:pt x="204429" y="275232"/>
                    <a:pt x="180340" y="269927"/>
                    <a:pt x="159166" y="259326"/>
                  </a:cubicBezTo>
                  <a:lnTo>
                    <a:pt x="159166" y="240028"/>
                  </a:lnTo>
                  <a:cubicBezTo>
                    <a:pt x="184712" y="249620"/>
                    <a:pt x="208201" y="254411"/>
                    <a:pt x="229613" y="254411"/>
                  </a:cubicBezTo>
                  <a:cubicBezTo>
                    <a:pt x="249806" y="254411"/>
                    <a:pt x="265941" y="249486"/>
                    <a:pt x="277981" y="239647"/>
                  </a:cubicBezTo>
                  <a:cubicBezTo>
                    <a:pt x="290030" y="229808"/>
                    <a:pt x="296050" y="216435"/>
                    <a:pt x="296050" y="199528"/>
                  </a:cubicBezTo>
                  <a:cubicBezTo>
                    <a:pt x="296050" y="189174"/>
                    <a:pt x="292764" y="180344"/>
                    <a:pt x="286201" y="173020"/>
                  </a:cubicBezTo>
                  <a:cubicBezTo>
                    <a:pt x="279619" y="165704"/>
                    <a:pt x="269037" y="159151"/>
                    <a:pt x="254445" y="153341"/>
                  </a:cubicBezTo>
                  <a:lnTo>
                    <a:pt x="212087" y="136301"/>
                  </a:lnTo>
                  <a:close/>
                  <a:moveTo>
                    <a:pt x="13" y="268793"/>
                  </a:moveTo>
                  <a:lnTo>
                    <a:pt x="13" y="6465"/>
                  </a:lnTo>
                  <a:lnTo>
                    <a:pt x="142002" y="6465"/>
                  </a:lnTo>
                  <a:lnTo>
                    <a:pt x="142002" y="26535"/>
                  </a:lnTo>
                  <a:lnTo>
                    <a:pt x="21549" y="26535"/>
                  </a:lnTo>
                  <a:lnTo>
                    <a:pt x="21549" y="126842"/>
                  </a:lnTo>
                  <a:lnTo>
                    <a:pt x="123390" y="126842"/>
                  </a:lnTo>
                  <a:lnTo>
                    <a:pt x="123390" y="146902"/>
                  </a:lnTo>
                  <a:lnTo>
                    <a:pt x="21549" y="146902"/>
                  </a:lnTo>
                  <a:lnTo>
                    <a:pt x="21549" y="268793"/>
                  </a:lnTo>
                  <a:lnTo>
                    <a:pt x="13" y="268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sp>
        <p:nvSpPr>
          <p:cNvPr id="600" name="TextBox 599">
            <a:extLst>
              <a:ext uri="{FF2B5EF4-FFF2-40B4-BE49-F238E27FC236}">
                <a16:creationId xmlns:a16="http://schemas.microsoft.com/office/drawing/2014/main" id="{A32DC266-5661-3FAF-1153-C564C9A98810}"/>
              </a:ext>
            </a:extLst>
          </p:cNvPr>
          <p:cNvSpPr txBox="1"/>
          <p:nvPr/>
        </p:nvSpPr>
        <p:spPr>
          <a:xfrm>
            <a:off x="3156142" y="2326457"/>
            <a:ext cx="121988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20,000 H200 GPUs</a:t>
            </a:r>
          </a:p>
        </p:txBody>
      </p:sp>
      <p:sp>
        <p:nvSpPr>
          <p:cNvPr id="601" name="TextBox 600">
            <a:extLst>
              <a:ext uri="{FF2B5EF4-FFF2-40B4-BE49-F238E27FC236}">
                <a16:creationId xmlns:a16="http://schemas.microsoft.com/office/drawing/2014/main" id="{E445B02A-A1D3-6937-0B98-729A25E12BB8}"/>
              </a:ext>
            </a:extLst>
          </p:cNvPr>
          <p:cNvSpPr txBox="1"/>
          <p:nvPr/>
        </p:nvSpPr>
        <p:spPr>
          <a:xfrm>
            <a:off x="1912014" y="4308035"/>
            <a:ext cx="84157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Petabytes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per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econd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throughput,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billions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of IOPS</a:t>
            </a:r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794169DA-CCCF-8247-3FF2-3976FDABDB0A}"/>
              </a:ext>
            </a:extLst>
          </p:cNvPr>
          <p:cNvSpPr txBox="1"/>
          <p:nvPr/>
        </p:nvSpPr>
        <p:spPr>
          <a:xfrm>
            <a:off x="6616789" y="2279783"/>
            <a:ext cx="142507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3,200 Gbps Elastic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Fabric Adapter (EFA)</a:t>
            </a:r>
          </a:p>
        </p:txBody>
      </p:sp>
      <p:sp>
        <p:nvSpPr>
          <p:cNvPr id="603" name="TextBox 602">
            <a:extLst>
              <a:ext uri="{FF2B5EF4-FFF2-40B4-BE49-F238E27FC236}">
                <a16:creationId xmlns:a16="http://schemas.microsoft.com/office/drawing/2014/main" id="{63C5F1FB-54B0-7947-A6E2-02430292E77C}"/>
              </a:ext>
            </a:extLst>
          </p:cNvPr>
          <p:cNvSpPr txBox="1"/>
          <p:nvPr/>
        </p:nvSpPr>
        <p:spPr>
          <a:xfrm>
            <a:off x="3766080" y="2746766"/>
            <a:ext cx="34801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Petabit-scale nonblocking network infrastructure</a:t>
            </a:r>
          </a:p>
        </p:txBody>
      </p:sp>
      <p:sp>
        <p:nvSpPr>
          <p:cNvPr id="604" name="TextBox 603">
            <a:extLst>
              <a:ext uri="{FF2B5EF4-FFF2-40B4-BE49-F238E27FC236}">
                <a16:creationId xmlns:a16="http://schemas.microsoft.com/office/drawing/2014/main" id="{BF44CD03-93BD-258F-83C2-AAA056575A77}"/>
              </a:ext>
            </a:extLst>
          </p:cNvPr>
          <p:cNvSpPr txBox="1"/>
          <p:nvPr/>
        </p:nvSpPr>
        <p:spPr>
          <a:xfrm>
            <a:off x="779178" y="2463051"/>
            <a:ext cx="107080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calable low-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latency storage</a:t>
            </a:r>
          </a:p>
        </p:txBody>
      </p:sp>
      <p:grpSp>
        <p:nvGrpSpPr>
          <p:cNvPr id="605" name="Group 604">
            <a:extLst>
              <a:ext uri="{FF2B5EF4-FFF2-40B4-BE49-F238E27FC236}">
                <a16:creationId xmlns:a16="http://schemas.microsoft.com/office/drawing/2014/main" id="{064C5471-F0A4-7BA2-C87F-96B81943460D}"/>
              </a:ext>
            </a:extLst>
          </p:cNvPr>
          <p:cNvGrpSpPr/>
          <p:nvPr/>
        </p:nvGrpSpPr>
        <p:grpSpPr>
          <a:xfrm>
            <a:off x="854371" y="3171095"/>
            <a:ext cx="860534" cy="800634"/>
            <a:chOff x="-556858" y="1338089"/>
            <a:chExt cx="1229334" cy="1143762"/>
          </a:xfrm>
        </p:grpSpPr>
        <p:grpSp>
          <p:nvGrpSpPr>
            <p:cNvPr id="606" name="Group 605">
              <a:extLst>
                <a:ext uri="{FF2B5EF4-FFF2-40B4-BE49-F238E27FC236}">
                  <a16:creationId xmlns:a16="http://schemas.microsoft.com/office/drawing/2014/main" id="{B532EF9E-E7D2-A23A-2DE2-ED418EE08631}"/>
                </a:ext>
              </a:extLst>
            </p:cNvPr>
            <p:cNvGrpSpPr/>
            <p:nvPr/>
          </p:nvGrpSpPr>
          <p:grpSpPr>
            <a:xfrm>
              <a:off x="-69122" y="1740253"/>
              <a:ext cx="741598" cy="741598"/>
              <a:chOff x="-69122" y="1740253"/>
              <a:chExt cx="741598" cy="741598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4752E8A2-73CC-795F-ABBE-E3AD5CF55635}"/>
                  </a:ext>
                </a:extLst>
              </p:cNvPr>
              <p:cNvSpPr/>
              <p:nvPr/>
            </p:nvSpPr>
            <p:spPr>
              <a:xfrm>
                <a:off x="-69122" y="1740253"/>
                <a:ext cx="741598" cy="741598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grpSp>
            <p:nvGrpSpPr>
              <p:cNvPr id="613" name="Group 612">
                <a:extLst>
                  <a:ext uri="{FF2B5EF4-FFF2-40B4-BE49-F238E27FC236}">
                    <a16:creationId xmlns:a16="http://schemas.microsoft.com/office/drawing/2014/main" id="{60F2EA8E-ACA3-764D-B900-5DA0153B87A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8350" y="1902192"/>
                <a:ext cx="414296" cy="413266"/>
                <a:chOff x="1135391" y="1750028"/>
                <a:chExt cx="433203" cy="432126"/>
              </a:xfrm>
            </p:grpSpPr>
            <p:sp>
              <p:nvSpPr>
                <p:cNvPr id="614" name="Freeform: Shape 845">
                  <a:extLst>
                    <a:ext uri="{FF2B5EF4-FFF2-40B4-BE49-F238E27FC236}">
                      <a16:creationId xmlns:a16="http://schemas.microsoft.com/office/drawing/2014/main" id="{C311AC52-5BF2-719F-591E-1E7A59D58E45}"/>
                    </a:ext>
                  </a:extLst>
                </p:cNvPr>
                <p:cNvSpPr/>
                <p:nvPr/>
              </p:nvSpPr>
              <p:spPr>
                <a:xfrm>
                  <a:off x="1230657" y="1750028"/>
                  <a:ext cx="337937" cy="337937"/>
                </a:xfrm>
                <a:custGeom>
                  <a:avLst/>
                  <a:gdLst>
                    <a:gd name="connsiteX0" fmla="*/ 101059 w 337936"/>
                    <a:gd name="connsiteY0" fmla="*/ 334286 h 337936"/>
                    <a:gd name="connsiteX1" fmla="*/ 226257 w 337936"/>
                    <a:gd name="connsiteY1" fmla="*/ 254790 h 337936"/>
                    <a:gd name="connsiteX2" fmla="*/ 333753 w 337936"/>
                    <a:gd name="connsiteY2" fmla="*/ 5361 h 337936"/>
                    <a:gd name="connsiteX3" fmla="*/ 84323 w 337936"/>
                    <a:gd name="connsiteY3" fmla="*/ 112857 h 337936"/>
                    <a:gd name="connsiteX4" fmla="*/ 4828 w 337936"/>
                    <a:gd name="connsiteY4" fmla="*/ 238055 h 337936"/>
                    <a:gd name="connsiteX5" fmla="*/ 101059 w 337936"/>
                    <a:gd name="connsiteY5" fmla="*/ 334286 h 33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7936" h="337936">
                      <a:moveTo>
                        <a:pt x="101059" y="334286"/>
                      </a:moveTo>
                      <a:cubicBezTo>
                        <a:pt x="162210" y="313044"/>
                        <a:pt x="226257" y="254790"/>
                        <a:pt x="226257" y="254790"/>
                      </a:cubicBezTo>
                      <a:cubicBezTo>
                        <a:pt x="348236" y="132811"/>
                        <a:pt x="333753" y="5361"/>
                        <a:pt x="333753" y="5361"/>
                      </a:cubicBezTo>
                      <a:cubicBezTo>
                        <a:pt x="333753" y="5361"/>
                        <a:pt x="206302" y="-9122"/>
                        <a:pt x="84323" y="112857"/>
                      </a:cubicBezTo>
                      <a:cubicBezTo>
                        <a:pt x="84323" y="112857"/>
                        <a:pt x="26391" y="176904"/>
                        <a:pt x="4828" y="238055"/>
                      </a:cubicBezTo>
                      <a:lnTo>
                        <a:pt x="101059" y="334286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5" name="Freeform: Shape 846">
                  <a:extLst>
                    <a:ext uri="{FF2B5EF4-FFF2-40B4-BE49-F238E27FC236}">
                      <a16:creationId xmlns:a16="http://schemas.microsoft.com/office/drawing/2014/main" id="{0ED1F1D0-7E79-1799-5577-9B10E8BBE968}"/>
                    </a:ext>
                  </a:extLst>
                </p:cNvPr>
                <p:cNvSpPr/>
                <p:nvPr/>
              </p:nvSpPr>
              <p:spPr>
                <a:xfrm>
                  <a:off x="1206197" y="2005462"/>
                  <a:ext cx="106209" cy="106209"/>
                </a:xfrm>
                <a:custGeom>
                  <a:avLst/>
                  <a:gdLst>
                    <a:gd name="connsiteX0" fmla="*/ 51495 w 106208"/>
                    <a:gd name="connsiteY0" fmla="*/ 4828 h 106208"/>
                    <a:gd name="connsiteX1" fmla="*/ 4828 w 106208"/>
                    <a:gd name="connsiteY1" fmla="*/ 5471 h 106208"/>
                    <a:gd name="connsiteX2" fmla="*/ 102668 w 106208"/>
                    <a:gd name="connsiteY2" fmla="*/ 103312 h 106208"/>
                    <a:gd name="connsiteX3" fmla="*/ 102668 w 106208"/>
                    <a:gd name="connsiteY3" fmla="*/ 56001 h 1062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6208" h="106208">
                      <a:moveTo>
                        <a:pt x="51495" y="4828"/>
                      </a:moveTo>
                      <a:lnTo>
                        <a:pt x="4828" y="5471"/>
                      </a:lnTo>
                      <a:lnTo>
                        <a:pt x="102668" y="103312"/>
                      </a:lnTo>
                      <a:lnTo>
                        <a:pt x="102668" y="56001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6" name="Freeform: Shape 847">
                  <a:extLst>
                    <a:ext uri="{FF2B5EF4-FFF2-40B4-BE49-F238E27FC236}">
                      <a16:creationId xmlns:a16="http://schemas.microsoft.com/office/drawing/2014/main" id="{B1EA42C5-63DC-68B7-0E75-2E8D0D04AAC8}"/>
                    </a:ext>
                  </a:extLst>
                </p:cNvPr>
                <p:cNvSpPr/>
                <p:nvPr/>
              </p:nvSpPr>
              <p:spPr>
                <a:xfrm>
                  <a:off x="1135391" y="1862210"/>
                  <a:ext cx="177014" cy="106209"/>
                </a:xfrm>
                <a:custGeom>
                  <a:avLst/>
                  <a:gdLst>
                    <a:gd name="connsiteX0" fmla="*/ 174762 w 177014"/>
                    <a:gd name="connsiteY0" fmla="*/ 5503 h 106208"/>
                    <a:gd name="connsiteX1" fmla="*/ 94944 w 177014"/>
                    <a:gd name="connsiteY1" fmla="*/ 11618 h 106208"/>
                    <a:gd name="connsiteX2" fmla="*/ 4828 w 177014"/>
                    <a:gd name="connsiteY2" fmla="*/ 101734 h 106208"/>
                    <a:gd name="connsiteX3" fmla="*/ 110071 w 177014"/>
                    <a:gd name="connsiteY3" fmla="*/ 101734 h 1062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7014" h="106208">
                      <a:moveTo>
                        <a:pt x="174762" y="5503"/>
                      </a:moveTo>
                      <a:cubicBezTo>
                        <a:pt x="171543" y="2284"/>
                        <a:pt x="94944" y="11618"/>
                        <a:pt x="94944" y="11618"/>
                      </a:cubicBezTo>
                      <a:lnTo>
                        <a:pt x="4828" y="101734"/>
                      </a:lnTo>
                      <a:lnTo>
                        <a:pt x="110071" y="101734"/>
                      </a:ln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7" name="Freeform: Shape 848">
                  <a:extLst>
                    <a:ext uri="{FF2B5EF4-FFF2-40B4-BE49-F238E27FC236}">
                      <a16:creationId xmlns:a16="http://schemas.microsoft.com/office/drawing/2014/main" id="{B9E4F311-79ED-B44D-7710-1F7C7FD3E879}"/>
                    </a:ext>
                  </a:extLst>
                </p:cNvPr>
                <p:cNvSpPr/>
                <p:nvPr/>
              </p:nvSpPr>
              <p:spPr>
                <a:xfrm>
                  <a:off x="1351349" y="2005140"/>
                  <a:ext cx="106209" cy="177014"/>
                </a:xfrm>
                <a:custGeom>
                  <a:avLst/>
                  <a:gdLst>
                    <a:gd name="connsiteX0" fmla="*/ 101381 w 106208"/>
                    <a:gd name="connsiteY0" fmla="*/ 4828 h 177014"/>
                    <a:gd name="connsiteX1" fmla="*/ 95266 w 106208"/>
                    <a:gd name="connsiteY1" fmla="*/ 84645 h 177014"/>
                    <a:gd name="connsiteX2" fmla="*/ 4828 w 106208"/>
                    <a:gd name="connsiteY2" fmla="*/ 175083 h 177014"/>
                    <a:gd name="connsiteX3" fmla="*/ 4828 w 106208"/>
                    <a:gd name="connsiteY3" fmla="*/ 69840 h 1770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6208" h="177014">
                      <a:moveTo>
                        <a:pt x="101381" y="4828"/>
                      </a:moveTo>
                      <a:cubicBezTo>
                        <a:pt x="104599" y="8046"/>
                        <a:pt x="95266" y="84645"/>
                        <a:pt x="95266" y="84645"/>
                      </a:cubicBezTo>
                      <a:lnTo>
                        <a:pt x="4828" y="175083"/>
                      </a:lnTo>
                      <a:lnTo>
                        <a:pt x="4828" y="69840"/>
                      </a:ln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8" name="Freeform: Shape 849">
                  <a:extLst>
                    <a:ext uri="{FF2B5EF4-FFF2-40B4-BE49-F238E27FC236}">
                      <a16:creationId xmlns:a16="http://schemas.microsoft.com/office/drawing/2014/main" id="{A393ABB1-49D0-8B56-7263-C68C0EC488C6}"/>
                    </a:ext>
                  </a:extLst>
                </p:cNvPr>
                <p:cNvSpPr/>
                <p:nvPr/>
              </p:nvSpPr>
              <p:spPr>
                <a:xfrm>
                  <a:off x="1140863" y="2050842"/>
                  <a:ext cx="74024" cy="74024"/>
                </a:xfrm>
                <a:custGeom>
                  <a:avLst/>
                  <a:gdLst>
                    <a:gd name="connsiteX0" fmla="*/ 69197 w 74024"/>
                    <a:gd name="connsiteY0" fmla="*/ 4828 h 74024"/>
                    <a:gd name="connsiteX1" fmla="*/ 4828 w 74024"/>
                    <a:gd name="connsiteY1" fmla="*/ 69197 h 74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024" h="74024">
                      <a:moveTo>
                        <a:pt x="69197" y="4828"/>
                      </a:moveTo>
                      <a:lnTo>
                        <a:pt x="4828" y="69197"/>
                      </a:lnTo>
                    </a:path>
                  </a:pathLst>
                </a:custGeom>
                <a:ln w="12700" cap="flat">
                  <a:solidFill>
                    <a:srgbClr val="FF99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9" name="Freeform: Shape 850">
                  <a:extLst>
                    <a:ext uri="{FF2B5EF4-FFF2-40B4-BE49-F238E27FC236}">
                      <a16:creationId xmlns:a16="http://schemas.microsoft.com/office/drawing/2014/main" id="{1A04BCE5-A0D6-6BF5-B42C-1D3659712240}"/>
                    </a:ext>
                  </a:extLst>
                </p:cNvPr>
                <p:cNvSpPr/>
                <p:nvPr/>
              </p:nvSpPr>
              <p:spPr>
                <a:xfrm>
                  <a:off x="1197507" y="2107487"/>
                  <a:ext cx="74024" cy="74024"/>
                </a:xfrm>
                <a:custGeom>
                  <a:avLst/>
                  <a:gdLst>
                    <a:gd name="connsiteX0" fmla="*/ 69197 w 74024"/>
                    <a:gd name="connsiteY0" fmla="*/ 4828 h 74024"/>
                    <a:gd name="connsiteX1" fmla="*/ 4828 w 74024"/>
                    <a:gd name="connsiteY1" fmla="*/ 69197 h 74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4024" h="74024">
                      <a:moveTo>
                        <a:pt x="69197" y="4828"/>
                      </a:moveTo>
                      <a:lnTo>
                        <a:pt x="4828" y="69197"/>
                      </a:lnTo>
                    </a:path>
                  </a:pathLst>
                </a:custGeom>
                <a:ln w="12700" cap="flat">
                  <a:solidFill>
                    <a:srgbClr val="FF99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20" name="Freeform: Shape 851">
                  <a:extLst>
                    <a:ext uri="{FF2B5EF4-FFF2-40B4-BE49-F238E27FC236}">
                      <a16:creationId xmlns:a16="http://schemas.microsoft.com/office/drawing/2014/main" id="{49175123-836C-5E82-7E05-D3FA283D93D0}"/>
                    </a:ext>
                  </a:extLst>
                </p:cNvPr>
                <p:cNvSpPr/>
                <p:nvPr/>
              </p:nvSpPr>
              <p:spPr>
                <a:xfrm>
                  <a:off x="1140863" y="2090107"/>
                  <a:ext cx="90116" cy="90116"/>
                </a:xfrm>
                <a:custGeom>
                  <a:avLst/>
                  <a:gdLst>
                    <a:gd name="connsiteX0" fmla="*/ 86576 w 90116"/>
                    <a:gd name="connsiteY0" fmla="*/ 4828 h 90116"/>
                    <a:gd name="connsiteX1" fmla="*/ 4828 w 90116"/>
                    <a:gd name="connsiteY1" fmla="*/ 86576 h 90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0116" h="90116">
                      <a:moveTo>
                        <a:pt x="86576" y="4828"/>
                      </a:moveTo>
                      <a:lnTo>
                        <a:pt x="4828" y="86576"/>
                      </a:lnTo>
                    </a:path>
                  </a:pathLst>
                </a:custGeom>
                <a:ln w="12700" cap="flat">
                  <a:solidFill>
                    <a:srgbClr val="FF99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21" name="Freeform: Shape 852">
                  <a:extLst>
                    <a:ext uri="{FF2B5EF4-FFF2-40B4-BE49-F238E27FC236}">
                      <a16:creationId xmlns:a16="http://schemas.microsoft.com/office/drawing/2014/main" id="{D9BB349F-7121-F322-A625-785093D4BF83}"/>
                    </a:ext>
                  </a:extLst>
                </p:cNvPr>
                <p:cNvSpPr/>
                <p:nvPr/>
              </p:nvSpPr>
              <p:spPr>
                <a:xfrm>
                  <a:off x="1390534" y="1800045"/>
                  <a:ext cx="128738" cy="128738"/>
                </a:xfrm>
                <a:custGeom>
                  <a:avLst/>
                  <a:gdLst>
                    <a:gd name="connsiteX0" fmla="*/ 66702 w 128737"/>
                    <a:gd name="connsiteY0" fmla="*/ 118841 h 128737"/>
                    <a:gd name="connsiteX1" fmla="*/ 10379 w 128737"/>
                    <a:gd name="connsiteY1" fmla="*/ 62518 h 128737"/>
                    <a:gd name="connsiteX2" fmla="*/ 10379 w 128737"/>
                    <a:gd name="connsiteY2" fmla="*/ 36127 h 128737"/>
                    <a:gd name="connsiteX3" fmla="*/ 36127 w 128737"/>
                    <a:gd name="connsiteY3" fmla="*/ 10379 h 128737"/>
                    <a:gd name="connsiteX4" fmla="*/ 62518 w 128737"/>
                    <a:gd name="connsiteY4" fmla="*/ 10379 h 128737"/>
                    <a:gd name="connsiteX5" fmla="*/ 119163 w 128737"/>
                    <a:gd name="connsiteY5" fmla="*/ 67024 h 128737"/>
                    <a:gd name="connsiteX6" fmla="*/ 119163 w 128737"/>
                    <a:gd name="connsiteY6" fmla="*/ 93415 h 128737"/>
                    <a:gd name="connsiteX7" fmla="*/ 93415 w 128737"/>
                    <a:gd name="connsiteY7" fmla="*/ 119163 h 128737"/>
                    <a:gd name="connsiteX8" fmla="*/ 66702 w 128737"/>
                    <a:gd name="connsiteY8" fmla="*/ 118841 h 128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737" h="128737">
                      <a:moveTo>
                        <a:pt x="66702" y="118841"/>
                      </a:moveTo>
                      <a:lnTo>
                        <a:pt x="10379" y="62518"/>
                      </a:lnTo>
                      <a:cubicBezTo>
                        <a:pt x="2977" y="55116"/>
                        <a:pt x="2977" y="43529"/>
                        <a:pt x="10379" y="36127"/>
                      </a:cubicBezTo>
                      <a:lnTo>
                        <a:pt x="36127" y="10379"/>
                      </a:lnTo>
                      <a:cubicBezTo>
                        <a:pt x="43529" y="2977"/>
                        <a:pt x="55116" y="2977"/>
                        <a:pt x="62518" y="10379"/>
                      </a:cubicBezTo>
                      <a:lnTo>
                        <a:pt x="119163" y="67024"/>
                      </a:lnTo>
                      <a:cubicBezTo>
                        <a:pt x="126565" y="74427"/>
                        <a:pt x="126565" y="86013"/>
                        <a:pt x="119163" y="93415"/>
                      </a:cubicBezTo>
                      <a:lnTo>
                        <a:pt x="93415" y="119163"/>
                      </a:lnTo>
                      <a:cubicBezTo>
                        <a:pt x="86013" y="126243"/>
                        <a:pt x="74105" y="126243"/>
                        <a:pt x="66702" y="118841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07" name="Group 606">
              <a:extLst>
                <a:ext uri="{FF2B5EF4-FFF2-40B4-BE49-F238E27FC236}">
                  <a16:creationId xmlns:a16="http://schemas.microsoft.com/office/drawing/2014/main" id="{B9F59D11-6123-BA4A-271B-566830FED048}"/>
                </a:ext>
              </a:extLst>
            </p:cNvPr>
            <p:cNvGrpSpPr/>
            <p:nvPr/>
          </p:nvGrpSpPr>
          <p:grpSpPr>
            <a:xfrm>
              <a:off x="-556858" y="1338089"/>
              <a:ext cx="741598" cy="741598"/>
              <a:chOff x="-28939" y="2910581"/>
              <a:chExt cx="741598" cy="741598"/>
            </a:xfrm>
          </p:grpSpPr>
          <p:sp useBgFill="1">
            <p:nvSpPr>
              <p:cNvPr id="608" name="Oval 607">
                <a:extLst>
                  <a:ext uri="{FF2B5EF4-FFF2-40B4-BE49-F238E27FC236}">
                    <a16:creationId xmlns:a16="http://schemas.microsoft.com/office/drawing/2014/main" id="{8B1B1B2D-A684-47F1-7271-E18A49FE24E1}"/>
                  </a:ext>
                </a:extLst>
              </p:cNvPr>
              <p:cNvSpPr/>
              <p:nvPr/>
            </p:nvSpPr>
            <p:spPr>
              <a:xfrm>
                <a:off x="-28939" y="2910581"/>
                <a:ext cx="741598" cy="741598"/>
              </a:xfrm>
              <a:prstGeom prst="ellipse">
                <a:avLst/>
              </a:prstGeom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4009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6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mazon Ember Display"/>
                  <a:ea typeface="+mn-ea"/>
                  <a:cs typeface="+mn-cs"/>
                </a:endParaRPr>
              </a:p>
            </p:txBody>
          </p:sp>
          <p:grpSp>
            <p:nvGrpSpPr>
              <p:cNvPr id="609" name="Group 4">
                <a:extLst>
                  <a:ext uri="{FF2B5EF4-FFF2-40B4-BE49-F238E27FC236}">
                    <a16:creationId xmlns:a16="http://schemas.microsoft.com/office/drawing/2014/main" id="{6C140AB8-44D5-3E92-A4E4-F3C96C8D5FF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6093" y="3135540"/>
                <a:ext cx="451535" cy="291681"/>
                <a:chOff x="2709" y="2752"/>
                <a:chExt cx="435" cy="281"/>
              </a:xfrm>
            </p:grpSpPr>
            <p:sp>
              <p:nvSpPr>
                <p:cNvPr id="610" name="Freeform 6">
                  <a:extLst>
                    <a:ext uri="{FF2B5EF4-FFF2-40B4-BE49-F238E27FC236}">
                      <a16:creationId xmlns:a16="http://schemas.microsoft.com/office/drawing/2014/main" id="{692B6A97-CD31-920A-2665-DFDD3E1CD6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9" y="2752"/>
                  <a:ext cx="381" cy="266"/>
                </a:xfrm>
                <a:custGeom>
                  <a:avLst/>
                  <a:gdLst>
                    <a:gd name="T0" fmla="*/ 0 w 99"/>
                    <a:gd name="T1" fmla="*/ 69 h 69"/>
                    <a:gd name="T2" fmla="*/ 0 w 99"/>
                    <a:gd name="T3" fmla="*/ 4 h 69"/>
                    <a:gd name="T4" fmla="*/ 5 w 99"/>
                    <a:gd name="T5" fmla="*/ 0 h 69"/>
                    <a:gd name="T6" fmla="*/ 41 w 99"/>
                    <a:gd name="T7" fmla="*/ 0 h 69"/>
                    <a:gd name="T8" fmla="*/ 45 w 99"/>
                    <a:gd name="T9" fmla="*/ 2 h 69"/>
                    <a:gd name="T10" fmla="*/ 50 w 99"/>
                    <a:gd name="T11" fmla="*/ 13 h 69"/>
                    <a:gd name="T12" fmla="*/ 95 w 99"/>
                    <a:gd name="T13" fmla="*/ 13 h 69"/>
                    <a:gd name="T14" fmla="*/ 99 w 99"/>
                    <a:gd name="T15" fmla="*/ 18 h 69"/>
                    <a:gd name="T16" fmla="*/ 99 w 99"/>
                    <a:gd name="T17" fmla="*/ 21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9" h="69">
                      <a:moveTo>
                        <a:pt x="0" y="69"/>
                      </a:moveTo>
                      <a:cubicBezTo>
                        <a:pt x="0" y="69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5" y="0"/>
                        <a:pt x="41" y="0"/>
                        <a:pt x="41" y="0"/>
                      </a:cubicBezTo>
                      <a:cubicBezTo>
                        <a:pt x="42" y="0"/>
                        <a:pt x="44" y="1"/>
                        <a:pt x="45" y="2"/>
                      </a:cubicBezTo>
                      <a:cubicBezTo>
                        <a:pt x="45" y="2"/>
                        <a:pt x="50" y="13"/>
                        <a:pt x="50" y="13"/>
                      </a:cubicBezTo>
                      <a:cubicBezTo>
                        <a:pt x="50" y="13"/>
                        <a:pt x="95" y="13"/>
                        <a:pt x="95" y="13"/>
                      </a:cubicBezTo>
                      <a:cubicBezTo>
                        <a:pt x="97" y="13"/>
                        <a:pt x="99" y="15"/>
                        <a:pt x="99" y="18"/>
                      </a:cubicBezTo>
                      <a:cubicBezTo>
                        <a:pt x="99" y="18"/>
                        <a:pt x="99" y="19"/>
                        <a:pt x="99" y="21"/>
                      </a:cubicBezTo>
                    </a:path>
                  </a:pathLst>
                </a:custGeom>
                <a:noFill/>
                <a:ln w="12700" cap="flat">
                  <a:solidFill>
                    <a:srgbClr val="FF99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4008" tIns="32004" rIns="64008" bIns="32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  <p:sp>
              <p:nvSpPr>
                <p:cNvPr id="611" name="Freeform 7">
                  <a:extLst>
                    <a:ext uri="{FF2B5EF4-FFF2-40B4-BE49-F238E27FC236}">
                      <a16:creationId xmlns:a16="http://schemas.microsoft.com/office/drawing/2014/main" id="{AF661882-7562-1587-C72C-81F4EFD7D3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9" y="2833"/>
                  <a:ext cx="435" cy="200"/>
                </a:xfrm>
                <a:custGeom>
                  <a:avLst/>
                  <a:gdLst>
                    <a:gd name="T0" fmla="*/ 14 w 113"/>
                    <a:gd name="T1" fmla="*/ 4 h 52"/>
                    <a:gd name="T2" fmla="*/ 18 w 113"/>
                    <a:gd name="T3" fmla="*/ 0 h 52"/>
                    <a:gd name="T4" fmla="*/ 108 w 113"/>
                    <a:gd name="T5" fmla="*/ 0 h 52"/>
                    <a:gd name="T6" fmla="*/ 113 w 113"/>
                    <a:gd name="T7" fmla="*/ 5 h 52"/>
                    <a:gd name="T8" fmla="*/ 112 w 113"/>
                    <a:gd name="T9" fmla="*/ 6 h 52"/>
                    <a:gd name="T10" fmla="*/ 99 w 113"/>
                    <a:gd name="T11" fmla="*/ 49 h 52"/>
                    <a:gd name="T12" fmla="*/ 95 w 113"/>
                    <a:gd name="T13" fmla="*/ 52 h 52"/>
                    <a:gd name="T14" fmla="*/ 5 w 113"/>
                    <a:gd name="T15" fmla="*/ 52 h 52"/>
                    <a:gd name="T16" fmla="*/ 0 w 113"/>
                    <a:gd name="T17" fmla="*/ 48 h 52"/>
                    <a:gd name="T18" fmla="*/ 1 w 113"/>
                    <a:gd name="T19" fmla="*/ 47 h 52"/>
                    <a:gd name="T20" fmla="*/ 14 w 113"/>
                    <a:gd name="T21" fmla="*/ 4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3" h="52">
                      <a:moveTo>
                        <a:pt x="14" y="4"/>
                      </a:moveTo>
                      <a:cubicBezTo>
                        <a:pt x="15" y="2"/>
                        <a:pt x="16" y="0"/>
                        <a:pt x="18" y="0"/>
                      </a:cubicBezTo>
                      <a:cubicBezTo>
                        <a:pt x="18" y="0"/>
                        <a:pt x="108" y="0"/>
                        <a:pt x="108" y="0"/>
                      </a:cubicBezTo>
                      <a:cubicBezTo>
                        <a:pt x="110" y="0"/>
                        <a:pt x="113" y="2"/>
                        <a:pt x="113" y="5"/>
                      </a:cubicBezTo>
                      <a:cubicBezTo>
                        <a:pt x="113" y="5"/>
                        <a:pt x="112" y="6"/>
                        <a:pt x="112" y="6"/>
                      </a:cubicBezTo>
                      <a:cubicBezTo>
                        <a:pt x="112" y="6"/>
                        <a:pt x="99" y="49"/>
                        <a:pt x="99" y="49"/>
                      </a:cubicBezTo>
                      <a:cubicBezTo>
                        <a:pt x="98" y="51"/>
                        <a:pt x="97" y="52"/>
                        <a:pt x="95" y="52"/>
                      </a:cubicBezTo>
                      <a:cubicBezTo>
                        <a:pt x="95" y="52"/>
                        <a:pt x="5" y="52"/>
                        <a:pt x="5" y="52"/>
                      </a:cubicBezTo>
                      <a:cubicBezTo>
                        <a:pt x="3" y="52"/>
                        <a:pt x="0" y="50"/>
                        <a:pt x="0" y="48"/>
                      </a:cubicBezTo>
                      <a:cubicBezTo>
                        <a:pt x="0" y="47"/>
                        <a:pt x="1" y="47"/>
                        <a:pt x="1" y="47"/>
                      </a:cubicBezTo>
                      <a:cubicBezTo>
                        <a:pt x="1" y="47"/>
                        <a:pt x="14" y="4"/>
                        <a:pt x="14" y="4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4008" tIns="32004" rIns="64008" bIns="32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4009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6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mazon Ember Display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622" name="Freeform: Shape 781">
            <a:extLst>
              <a:ext uri="{FF2B5EF4-FFF2-40B4-BE49-F238E27FC236}">
                <a16:creationId xmlns:a16="http://schemas.microsoft.com/office/drawing/2014/main" id="{EFF5612B-8F11-3167-6068-FCE5585E79EE}"/>
              </a:ext>
            </a:extLst>
          </p:cNvPr>
          <p:cNvSpPr/>
          <p:nvPr/>
        </p:nvSpPr>
        <p:spPr>
          <a:xfrm>
            <a:off x="3378831" y="3102442"/>
            <a:ext cx="1418867" cy="439580"/>
          </a:xfrm>
          <a:custGeom>
            <a:avLst/>
            <a:gdLst>
              <a:gd name="connsiteX0" fmla="*/ 2060812 w 2060812"/>
              <a:gd name="connsiteY0" fmla="*/ 0 h 573206"/>
              <a:gd name="connsiteX1" fmla="*/ 0 w 2060812"/>
              <a:gd name="connsiteY1" fmla="*/ 0 h 573206"/>
              <a:gd name="connsiteX2" fmla="*/ 0 w 2060812"/>
              <a:gd name="connsiteY2" fmla="*/ 573206 h 57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0812" h="573206">
                <a:moveTo>
                  <a:pt x="2060812" y="0"/>
                </a:moveTo>
                <a:lnTo>
                  <a:pt x="0" y="0"/>
                </a:lnTo>
                <a:lnTo>
                  <a:pt x="0" y="573206"/>
                </a:lnTo>
              </a:path>
            </a:pathLst>
          </a:cu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623" name="Freeform: Shape 782">
            <a:extLst>
              <a:ext uri="{FF2B5EF4-FFF2-40B4-BE49-F238E27FC236}">
                <a16:creationId xmlns:a16="http://schemas.microsoft.com/office/drawing/2014/main" id="{04E48CE0-3FEC-A046-A8D7-47CDE2583DCA}"/>
              </a:ext>
            </a:extLst>
          </p:cNvPr>
          <p:cNvSpPr/>
          <p:nvPr/>
        </p:nvSpPr>
        <p:spPr>
          <a:xfrm>
            <a:off x="3441602" y="3164375"/>
            <a:ext cx="1356969" cy="377647"/>
          </a:xfrm>
          <a:custGeom>
            <a:avLst/>
            <a:gdLst>
              <a:gd name="connsiteX0" fmla="*/ 2060812 w 2060812"/>
              <a:gd name="connsiteY0" fmla="*/ 0 h 573206"/>
              <a:gd name="connsiteX1" fmla="*/ 0 w 2060812"/>
              <a:gd name="connsiteY1" fmla="*/ 0 h 573206"/>
              <a:gd name="connsiteX2" fmla="*/ 0 w 2060812"/>
              <a:gd name="connsiteY2" fmla="*/ 573206 h 57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0812" h="573206">
                <a:moveTo>
                  <a:pt x="2060812" y="0"/>
                </a:moveTo>
                <a:lnTo>
                  <a:pt x="0" y="0"/>
                </a:lnTo>
                <a:lnTo>
                  <a:pt x="0" y="573206"/>
                </a:lnTo>
              </a:path>
            </a:pathLst>
          </a:cu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grpSp>
        <p:nvGrpSpPr>
          <p:cNvPr id="624" name="Group 623">
            <a:extLst>
              <a:ext uri="{FF2B5EF4-FFF2-40B4-BE49-F238E27FC236}">
                <a16:creationId xmlns:a16="http://schemas.microsoft.com/office/drawing/2014/main" id="{C601C507-33E4-AA54-689F-0D1A8473047B}"/>
              </a:ext>
            </a:extLst>
          </p:cNvPr>
          <p:cNvGrpSpPr/>
          <p:nvPr/>
        </p:nvGrpSpPr>
        <p:grpSpPr>
          <a:xfrm flipH="1">
            <a:off x="6119919" y="3102442"/>
            <a:ext cx="1419740" cy="439580"/>
            <a:chOff x="4552879" y="2586841"/>
            <a:chExt cx="2028200" cy="627971"/>
          </a:xfrm>
        </p:grpSpPr>
        <p:sp>
          <p:nvSpPr>
            <p:cNvPr id="625" name="Freeform: Shape 835">
              <a:extLst>
                <a:ext uri="{FF2B5EF4-FFF2-40B4-BE49-F238E27FC236}">
                  <a16:creationId xmlns:a16="http://schemas.microsoft.com/office/drawing/2014/main" id="{0F152B79-5139-6CD7-F8FE-AC0C780C6865}"/>
                </a:ext>
              </a:extLst>
            </p:cNvPr>
            <p:cNvSpPr/>
            <p:nvPr/>
          </p:nvSpPr>
          <p:spPr>
            <a:xfrm>
              <a:off x="4552879" y="2586841"/>
              <a:ext cx="2026952" cy="627971"/>
            </a:xfrm>
            <a:custGeom>
              <a:avLst/>
              <a:gdLst>
                <a:gd name="connsiteX0" fmla="*/ 2060812 w 2060812"/>
                <a:gd name="connsiteY0" fmla="*/ 0 h 573206"/>
                <a:gd name="connsiteX1" fmla="*/ 0 w 2060812"/>
                <a:gd name="connsiteY1" fmla="*/ 0 h 573206"/>
                <a:gd name="connsiteX2" fmla="*/ 0 w 2060812"/>
                <a:gd name="connsiteY2" fmla="*/ 573206 h 57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0812" h="573206">
                  <a:moveTo>
                    <a:pt x="2060812" y="0"/>
                  </a:moveTo>
                  <a:lnTo>
                    <a:pt x="0" y="0"/>
                  </a:lnTo>
                  <a:lnTo>
                    <a:pt x="0" y="573206"/>
                  </a:lnTo>
                </a:path>
              </a:pathLst>
            </a:custGeom>
            <a:noFill/>
            <a:ln w="12700" cmpd="sng">
              <a:solidFill>
                <a:srgbClr val="38EF7D"/>
              </a:solidFill>
              <a:prstDash val="dash"/>
              <a:headEnd type="none" w="med" len="sm"/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626" name="Freeform: Shape 836">
              <a:extLst>
                <a:ext uri="{FF2B5EF4-FFF2-40B4-BE49-F238E27FC236}">
                  <a16:creationId xmlns:a16="http://schemas.microsoft.com/office/drawing/2014/main" id="{4D155E2C-BD47-B538-2389-AFC7BBF5082B}"/>
                </a:ext>
              </a:extLst>
            </p:cNvPr>
            <p:cNvSpPr/>
            <p:nvPr/>
          </p:nvSpPr>
          <p:spPr>
            <a:xfrm>
              <a:off x="4642551" y="2675316"/>
              <a:ext cx="1938528" cy="539496"/>
            </a:xfrm>
            <a:custGeom>
              <a:avLst/>
              <a:gdLst>
                <a:gd name="connsiteX0" fmla="*/ 2060812 w 2060812"/>
                <a:gd name="connsiteY0" fmla="*/ 0 h 573206"/>
                <a:gd name="connsiteX1" fmla="*/ 0 w 2060812"/>
                <a:gd name="connsiteY1" fmla="*/ 0 h 573206"/>
                <a:gd name="connsiteX2" fmla="*/ 0 w 2060812"/>
                <a:gd name="connsiteY2" fmla="*/ 573206 h 57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0812" h="573206">
                  <a:moveTo>
                    <a:pt x="2060812" y="0"/>
                  </a:moveTo>
                  <a:lnTo>
                    <a:pt x="0" y="0"/>
                  </a:lnTo>
                  <a:lnTo>
                    <a:pt x="0" y="573206"/>
                  </a:lnTo>
                </a:path>
              </a:pathLst>
            </a:custGeom>
            <a:noFill/>
            <a:ln w="12700" cmpd="sng">
              <a:solidFill>
                <a:srgbClr val="38EF7D"/>
              </a:solidFill>
              <a:prstDash val="dash"/>
              <a:headEnd type="arrow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grpSp>
        <p:nvGrpSpPr>
          <p:cNvPr id="627" name="Group 626">
            <a:extLst>
              <a:ext uri="{FF2B5EF4-FFF2-40B4-BE49-F238E27FC236}">
                <a16:creationId xmlns:a16="http://schemas.microsoft.com/office/drawing/2014/main" id="{273BAD6A-02DE-B1CC-FAED-1B409D0F21FE}"/>
              </a:ext>
            </a:extLst>
          </p:cNvPr>
          <p:cNvGrpSpPr/>
          <p:nvPr/>
        </p:nvGrpSpPr>
        <p:grpSpPr>
          <a:xfrm>
            <a:off x="4197481" y="3250727"/>
            <a:ext cx="600217" cy="305720"/>
            <a:chOff x="5722379" y="2798676"/>
            <a:chExt cx="857452" cy="436743"/>
          </a:xfrm>
        </p:grpSpPr>
        <p:sp>
          <p:nvSpPr>
            <p:cNvPr id="628" name="Freeform: Shape 833">
              <a:extLst>
                <a:ext uri="{FF2B5EF4-FFF2-40B4-BE49-F238E27FC236}">
                  <a16:creationId xmlns:a16="http://schemas.microsoft.com/office/drawing/2014/main" id="{3CDFA258-E23A-39D0-E9EE-73C1BF6150E9}"/>
                </a:ext>
              </a:extLst>
            </p:cNvPr>
            <p:cNvSpPr/>
            <p:nvPr/>
          </p:nvSpPr>
          <p:spPr>
            <a:xfrm>
              <a:off x="5722379" y="2798676"/>
              <a:ext cx="857452" cy="436743"/>
            </a:xfrm>
            <a:custGeom>
              <a:avLst/>
              <a:gdLst>
                <a:gd name="connsiteX0" fmla="*/ 2060812 w 2060812"/>
                <a:gd name="connsiteY0" fmla="*/ 0 h 573206"/>
                <a:gd name="connsiteX1" fmla="*/ 0 w 2060812"/>
                <a:gd name="connsiteY1" fmla="*/ 0 h 573206"/>
                <a:gd name="connsiteX2" fmla="*/ 0 w 2060812"/>
                <a:gd name="connsiteY2" fmla="*/ 573206 h 57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0812" h="573206">
                  <a:moveTo>
                    <a:pt x="2060812" y="0"/>
                  </a:moveTo>
                  <a:lnTo>
                    <a:pt x="0" y="0"/>
                  </a:lnTo>
                  <a:lnTo>
                    <a:pt x="0" y="573206"/>
                  </a:lnTo>
                </a:path>
              </a:pathLst>
            </a:custGeom>
            <a:noFill/>
            <a:ln w="12700" cmpd="sng">
              <a:solidFill>
                <a:srgbClr val="38EF7D"/>
              </a:solidFill>
              <a:prstDash val="dash"/>
              <a:headEnd type="arrow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  <p:sp>
          <p:nvSpPr>
            <p:cNvPr id="629" name="Freeform: Shape 834">
              <a:extLst>
                <a:ext uri="{FF2B5EF4-FFF2-40B4-BE49-F238E27FC236}">
                  <a16:creationId xmlns:a16="http://schemas.microsoft.com/office/drawing/2014/main" id="{62F093FF-BFBF-46EE-C334-61851EF03779}"/>
                </a:ext>
              </a:extLst>
            </p:cNvPr>
            <p:cNvSpPr/>
            <p:nvPr/>
          </p:nvSpPr>
          <p:spPr>
            <a:xfrm>
              <a:off x="5811735" y="2887947"/>
              <a:ext cx="768096" cy="347472"/>
            </a:xfrm>
            <a:custGeom>
              <a:avLst/>
              <a:gdLst>
                <a:gd name="connsiteX0" fmla="*/ 2060812 w 2060812"/>
                <a:gd name="connsiteY0" fmla="*/ 0 h 573206"/>
                <a:gd name="connsiteX1" fmla="*/ 0 w 2060812"/>
                <a:gd name="connsiteY1" fmla="*/ 0 h 573206"/>
                <a:gd name="connsiteX2" fmla="*/ 0 w 2060812"/>
                <a:gd name="connsiteY2" fmla="*/ 573206 h 57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0812" h="573206">
                  <a:moveTo>
                    <a:pt x="2060812" y="0"/>
                  </a:moveTo>
                  <a:lnTo>
                    <a:pt x="0" y="0"/>
                  </a:lnTo>
                  <a:lnTo>
                    <a:pt x="0" y="573206"/>
                  </a:lnTo>
                </a:path>
              </a:pathLst>
            </a:custGeom>
            <a:noFill/>
            <a:ln w="12700" cmpd="sng">
              <a:solidFill>
                <a:srgbClr val="38EF7D"/>
              </a:solidFill>
              <a:prstDash val="dash"/>
              <a:headEnd type="none" w="med" len="sm"/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4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endParaRPr>
            </a:p>
          </p:txBody>
        </p:sp>
      </p:grpSp>
      <p:sp>
        <p:nvSpPr>
          <p:cNvPr id="630" name="Freeform: Shape 785">
            <a:extLst>
              <a:ext uri="{FF2B5EF4-FFF2-40B4-BE49-F238E27FC236}">
                <a16:creationId xmlns:a16="http://schemas.microsoft.com/office/drawing/2014/main" id="{67DB2B70-9357-48A5-0106-14821C1DE28E}"/>
              </a:ext>
            </a:extLst>
          </p:cNvPr>
          <p:cNvSpPr/>
          <p:nvPr/>
        </p:nvSpPr>
        <p:spPr>
          <a:xfrm rot="5400000">
            <a:off x="6118106" y="3261378"/>
            <a:ext cx="382106" cy="371746"/>
          </a:xfrm>
          <a:custGeom>
            <a:avLst/>
            <a:gdLst>
              <a:gd name="connsiteX0" fmla="*/ 2060812 w 2060812"/>
              <a:gd name="connsiteY0" fmla="*/ 0 h 573206"/>
              <a:gd name="connsiteX1" fmla="*/ 0 w 2060812"/>
              <a:gd name="connsiteY1" fmla="*/ 0 h 573206"/>
              <a:gd name="connsiteX2" fmla="*/ 0 w 2060812"/>
              <a:gd name="connsiteY2" fmla="*/ 573206 h 57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0812" h="573206">
                <a:moveTo>
                  <a:pt x="2060812" y="0"/>
                </a:moveTo>
                <a:lnTo>
                  <a:pt x="0" y="0"/>
                </a:lnTo>
                <a:lnTo>
                  <a:pt x="0" y="573206"/>
                </a:lnTo>
              </a:path>
            </a:pathLst>
          </a:cu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631" name="Freeform: Shape 786">
            <a:extLst>
              <a:ext uri="{FF2B5EF4-FFF2-40B4-BE49-F238E27FC236}">
                <a16:creationId xmlns:a16="http://schemas.microsoft.com/office/drawing/2014/main" id="{286FF161-9DFD-1276-1ABB-C54B4B2576A7}"/>
              </a:ext>
            </a:extLst>
          </p:cNvPr>
          <p:cNvSpPr/>
          <p:nvPr/>
        </p:nvSpPr>
        <p:spPr>
          <a:xfrm rot="5400000">
            <a:off x="6116886" y="3324664"/>
            <a:ext cx="320040" cy="307239"/>
          </a:xfrm>
          <a:custGeom>
            <a:avLst/>
            <a:gdLst>
              <a:gd name="connsiteX0" fmla="*/ 2060812 w 2060812"/>
              <a:gd name="connsiteY0" fmla="*/ 0 h 573206"/>
              <a:gd name="connsiteX1" fmla="*/ 0 w 2060812"/>
              <a:gd name="connsiteY1" fmla="*/ 0 h 573206"/>
              <a:gd name="connsiteX2" fmla="*/ 0 w 2060812"/>
              <a:gd name="connsiteY2" fmla="*/ 573206 h 57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0812" h="573206">
                <a:moveTo>
                  <a:pt x="2060812" y="0"/>
                </a:moveTo>
                <a:lnTo>
                  <a:pt x="0" y="0"/>
                </a:lnTo>
                <a:lnTo>
                  <a:pt x="0" y="573206"/>
                </a:lnTo>
              </a:path>
            </a:pathLst>
          </a:cu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cxnSp>
        <p:nvCxnSpPr>
          <p:cNvPr id="632" name="Straight Arrow Connector 631">
            <a:extLst>
              <a:ext uri="{FF2B5EF4-FFF2-40B4-BE49-F238E27FC236}">
                <a16:creationId xmlns:a16="http://schemas.microsoft.com/office/drawing/2014/main" id="{B1EBD327-1DFD-D8E0-3889-61E89D9E0AC4}"/>
              </a:ext>
            </a:extLst>
          </p:cNvPr>
          <p:cNvCxnSpPr>
            <a:cxnSpLocks/>
          </p:cNvCxnSpPr>
          <p:nvPr/>
        </p:nvCxnSpPr>
        <p:spPr>
          <a:xfrm>
            <a:off x="3446234" y="4042281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3" name="Straight Arrow Connector 632">
            <a:extLst>
              <a:ext uri="{FF2B5EF4-FFF2-40B4-BE49-F238E27FC236}">
                <a16:creationId xmlns:a16="http://schemas.microsoft.com/office/drawing/2014/main" id="{EF17B6F4-779D-B370-B0E5-65E66675AC19}"/>
              </a:ext>
            </a:extLst>
          </p:cNvPr>
          <p:cNvCxnSpPr>
            <a:cxnSpLocks/>
          </p:cNvCxnSpPr>
          <p:nvPr/>
        </p:nvCxnSpPr>
        <p:spPr>
          <a:xfrm>
            <a:off x="3446234" y="4705875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4" name="Straight Arrow Connector 633">
            <a:extLst>
              <a:ext uri="{FF2B5EF4-FFF2-40B4-BE49-F238E27FC236}">
                <a16:creationId xmlns:a16="http://schemas.microsoft.com/office/drawing/2014/main" id="{05F2B15A-A014-2B9A-E3B5-7A6EF6BA43D8}"/>
              </a:ext>
            </a:extLst>
          </p:cNvPr>
          <p:cNvCxnSpPr>
            <a:cxnSpLocks/>
          </p:cNvCxnSpPr>
          <p:nvPr/>
        </p:nvCxnSpPr>
        <p:spPr>
          <a:xfrm>
            <a:off x="3378831" y="4042281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5" name="Straight Arrow Connector 634">
            <a:extLst>
              <a:ext uri="{FF2B5EF4-FFF2-40B4-BE49-F238E27FC236}">
                <a16:creationId xmlns:a16="http://schemas.microsoft.com/office/drawing/2014/main" id="{8578E6D1-C5E8-1F8A-BD5B-A49092E11A34}"/>
              </a:ext>
            </a:extLst>
          </p:cNvPr>
          <p:cNvCxnSpPr>
            <a:cxnSpLocks/>
          </p:cNvCxnSpPr>
          <p:nvPr/>
        </p:nvCxnSpPr>
        <p:spPr>
          <a:xfrm>
            <a:off x="3378831" y="4705875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6" name="Straight Arrow Connector 635">
            <a:extLst>
              <a:ext uri="{FF2B5EF4-FFF2-40B4-BE49-F238E27FC236}">
                <a16:creationId xmlns:a16="http://schemas.microsoft.com/office/drawing/2014/main" id="{72F1DE38-9C6B-6CC1-C07D-CFB8FF54D8BB}"/>
              </a:ext>
            </a:extLst>
          </p:cNvPr>
          <p:cNvCxnSpPr>
            <a:cxnSpLocks/>
          </p:cNvCxnSpPr>
          <p:nvPr/>
        </p:nvCxnSpPr>
        <p:spPr>
          <a:xfrm>
            <a:off x="5141699" y="4031102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7" name="Straight Arrow Connector 636">
            <a:extLst>
              <a:ext uri="{FF2B5EF4-FFF2-40B4-BE49-F238E27FC236}">
                <a16:creationId xmlns:a16="http://schemas.microsoft.com/office/drawing/2014/main" id="{B1DDB17A-4EF4-3B55-D811-ED0014E95ADB}"/>
              </a:ext>
            </a:extLst>
          </p:cNvPr>
          <p:cNvCxnSpPr>
            <a:cxnSpLocks/>
          </p:cNvCxnSpPr>
          <p:nvPr/>
        </p:nvCxnSpPr>
        <p:spPr>
          <a:xfrm>
            <a:off x="5141699" y="4694696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8" name="Straight Arrow Connector 637">
            <a:extLst>
              <a:ext uri="{FF2B5EF4-FFF2-40B4-BE49-F238E27FC236}">
                <a16:creationId xmlns:a16="http://schemas.microsoft.com/office/drawing/2014/main" id="{6B2BCA39-FF03-0456-CBEF-A6D895004E73}"/>
              </a:ext>
            </a:extLst>
          </p:cNvPr>
          <p:cNvCxnSpPr>
            <a:cxnSpLocks/>
          </p:cNvCxnSpPr>
          <p:nvPr/>
        </p:nvCxnSpPr>
        <p:spPr>
          <a:xfrm>
            <a:off x="5074296" y="4031102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9" name="Straight Arrow Connector 638">
            <a:extLst>
              <a:ext uri="{FF2B5EF4-FFF2-40B4-BE49-F238E27FC236}">
                <a16:creationId xmlns:a16="http://schemas.microsoft.com/office/drawing/2014/main" id="{289D3798-5963-235E-78EF-84417F4C1BDB}"/>
              </a:ext>
            </a:extLst>
          </p:cNvPr>
          <p:cNvCxnSpPr>
            <a:cxnSpLocks/>
          </p:cNvCxnSpPr>
          <p:nvPr/>
        </p:nvCxnSpPr>
        <p:spPr>
          <a:xfrm>
            <a:off x="5074296" y="4694696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0" name="Straight Arrow Connector 639">
            <a:extLst>
              <a:ext uri="{FF2B5EF4-FFF2-40B4-BE49-F238E27FC236}">
                <a16:creationId xmlns:a16="http://schemas.microsoft.com/office/drawing/2014/main" id="{DA950653-BC9B-D371-3994-E1510C480758}"/>
              </a:ext>
            </a:extLst>
          </p:cNvPr>
          <p:cNvCxnSpPr>
            <a:cxnSpLocks/>
          </p:cNvCxnSpPr>
          <p:nvPr/>
        </p:nvCxnSpPr>
        <p:spPr>
          <a:xfrm>
            <a:off x="7555898" y="4042281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1" name="Straight Arrow Connector 640">
            <a:extLst>
              <a:ext uri="{FF2B5EF4-FFF2-40B4-BE49-F238E27FC236}">
                <a16:creationId xmlns:a16="http://schemas.microsoft.com/office/drawing/2014/main" id="{9E5A43C4-536A-8383-0BD0-751E1442C4EC}"/>
              </a:ext>
            </a:extLst>
          </p:cNvPr>
          <p:cNvCxnSpPr>
            <a:cxnSpLocks/>
          </p:cNvCxnSpPr>
          <p:nvPr/>
        </p:nvCxnSpPr>
        <p:spPr>
          <a:xfrm>
            <a:off x="7555898" y="4705875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2" name="Straight Arrow Connector 641">
            <a:extLst>
              <a:ext uri="{FF2B5EF4-FFF2-40B4-BE49-F238E27FC236}">
                <a16:creationId xmlns:a16="http://schemas.microsoft.com/office/drawing/2014/main" id="{5A683509-5EC0-78C4-B025-2F1153E1BDF9}"/>
              </a:ext>
            </a:extLst>
          </p:cNvPr>
          <p:cNvCxnSpPr>
            <a:cxnSpLocks/>
          </p:cNvCxnSpPr>
          <p:nvPr/>
        </p:nvCxnSpPr>
        <p:spPr>
          <a:xfrm>
            <a:off x="7488495" y="4042281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3" name="Straight Arrow Connector 642">
            <a:extLst>
              <a:ext uri="{FF2B5EF4-FFF2-40B4-BE49-F238E27FC236}">
                <a16:creationId xmlns:a16="http://schemas.microsoft.com/office/drawing/2014/main" id="{21033911-CB8D-B19F-E9EF-21D231BFE3FE}"/>
              </a:ext>
            </a:extLst>
          </p:cNvPr>
          <p:cNvCxnSpPr>
            <a:cxnSpLocks/>
          </p:cNvCxnSpPr>
          <p:nvPr/>
        </p:nvCxnSpPr>
        <p:spPr>
          <a:xfrm>
            <a:off x="7488495" y="4705875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4" name="Straight Arrow Connector 643">
            <a:extLst>
              <a:ext uri="{FF2B5EF4-FFF2-40B4-BE49-F238E27FC236}">
                <a16:creationId xmlns:a16="http://schemas.microsoft.com/office/drawing/2014/main" id="{5CA9105F-E0AD-D39D-C4B3-5A290D30CD27}"/>
              </a:ext>
            </a:extLst>
          </p:cNvPr>
          <p:cNvCxnSpPr>
            <a:cxnSpLocks/>
          </p:cNvCxnSpPr>
          <p:nvPr/>
        </p:nvCxnSpPr>
        <p:spPr>
          <a:xfrm>
            <a:off x="6505372" y="3994513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5" name="Straight Arrow Connector 644">
            <a:extLst>
              <a:ext uri="{FF2B5EF4-FFF2-40B4-BE49-F238E27FC236}">
                <a16:creationId xmlns:a16="http://schemas.microsoft.com/office/drawing/2014/main" id="{48CE5840-806F-853D-8D49-09717758E412}"/>
              </a:ext>
            </a:extLst>
          </p:cNvPr>
          <p:cNvCxnSpPr>
            <a:cxnSpLocks/>
          </p:cNvCxnSpPr>
          <p:nvPr/>
        </p:nvCxnSpPr>
        <p:spPr>
          <a:xfrm>
            <a:off x="6505372" y="4658107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6" name="Straight Arrow Connector 645">
            <a:extLst>
              <a:ext uri="{FF2B5EF4-FFF2-40B4-BE49-F238E27FC236}">
                <a16:creationId xmlns:a16="http://schemas.microsoft.com/office/drawing/2014/main" id="{E2F3379D-4A85-1296-9EE5-37847B968243}"/>
              </a:ext>
            </a:extLst>
          </p:cNvPr>
          <p:cNvCxnSpPr>
            <a:cxnSpLocks/>
          </p:cNvCxnSpPr>
          <p:nvPr/>
        </p:nvCxnSpPr>
        <p:spPr>
          <a:xfrm>
            <a:off x="6437969" y="3994513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7" name="Straight Arrow Connector 646">
            <a:extLst>
              <a:ext uri="{FF2B5EF4-FFF2-40B4-BE49-F238E27FC236}">
                <a16:creationId xmlns:a16="http://schemas.microsoft.com/office/drawing/2014/main" id="{CCCAE9BC-C599-6883-121D-FB2674F3B401}"/>
              </a:ext>
            </a:extLst>
          </p:cNvPr>
          <p:cNvCxnSpPr>
            <a:cxnSpLocks/>
          </p:cNvCxnSpPr>
          <p:nvPr/>
        </p:nvCxnSpPr>
        <p:spPr>
          <a:xfrm>
            <a:off x="6437969" y="4658107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8" name="Straight Arrow Connector 647">
            <a:extLst>
              <a:ext uri="{FF2B5EF4-FFF2-40B4-BE49-F238E27FC236}">
                <a16:creationId xmlns:a16="http://schemas.microsoft.com/office/drawing/2014/main" id="{3D2FEB4D-3735-FB97-D3A9-0DE60E67ED02}"/>
              </a:ext>
            </a:extLst>
          </p:cNvPr>
          <p:cNvCxnSpPr>
            <a:cxnSpLocks/>
          </p:cNvCxnSpPr>
          <p:nvPr/>
        </p:nvCxnSpPr>
        <p:spPr>
          <a:xfrm>
            <a:off x="5889447" y="3994513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9" name="Straight Arrow Connector 648">
            <a:extLst>
              <a:ext uri="{FF2B5EF4-FFF2-40B4-BE49-F238E27FC236}">
                <a16:creationId xmlns:a16="http://schemas.microsoft.com/office/drawing/2014/main" id="{A861E101-0263-28D4-24E8-FC5170148C53}"/>
              </a:ext>
            </a:extLst>
          </p:cNvPr>
          <p:cNvCxnSpPr>
            <a:cxnSpLocks/>
          </p:cNvCxnSpPr>
          <p:nvPr/>
        </p:nvCxnSpPr>
        <p:spPr>
          <a:xfrm>
            <a:off x="5889447" y="4658107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0" name="Straight Arrow Connector 649">
            <a:extLst>
              <a:ext uri="{FF2B5EF4-FFF2-40B4-BE49-F238E27FC236}">
                <a16:creationId xmlns:a16="http://schemas.microsoft.com/office/drawing/2014/main" id="{E9BD96BA-F5BB-3B67-05E0-CDF7CA647414}"/>
              </a:ext>
            </a:extLst>
          </p:cNvPr>
          <p:cNvCxnSpPr>
            <a:cxnSpLocks/>
          </p:cNvCxnSpPr>
          <p:nvPr/>
        </p:nvCxnSpPr>
        <p:spPr>
          <a:xfrm>
            <a:off x="5822044" y="3994513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1" name="Straight Arrow Connector 650">
            <a:extLst>
              <a:ext uri="{FF2B5EF4-FFF2-40B4-BE49-F238E27FC236}">
                <a16:creationId xmlns:a16="http://schemas.microsoft.com/office/drawing/2014/main" id="{87DDED03-FC22-0FFD-E50E-D475CC6490FD}"/>
              </a:ext>
            </a:extLst>
          </p:cNvPr>
          <p:cNvCxnSpPr>
            <a:cxnSpLocks/>
          </p:cNvCxnSpPr>
          <p:nvPr/>
        </p:nvCxnSpPr>
        <p:spPr>
          <a:xfrm>
            <a:off x="5822044" y="4658107"/>
            <a:ext cx="1782" cy="32004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2" name="Straight Arrow Connector 651">
            <a:extLst>
              <a:ext uri="{FF2B5EF4-FFF2-40B4-BE49-F238E27FC236}">
                <a16:creationId xmlns:a16="http://schemas.microsoft.com/office/drawing/2014/main" id="{EBDE20AD-B1FA-A3E2-B745-D777B55105F3}"/>
              </a:ext>
            </a:extLst>
          </p:cNvPr>
          <p:cNvCxnSpPr>
            <a:cxnSpLocks/>
          </p:cNvCxnSpPr>
          <p:nvPr/>
        </p:nvCxnSpPr>
        <p:spPr>
          <a:xfrm>
            <a:off x="4281680" y="4694696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53" name="Group 652">
            <a:extLst>
              <a:ext uri="{FF2B5EF4-FFF2-40B4-BE49-F238E27FC236}">
                <a16:creationId xmlns:a16="http://schemas.microsoft.com/office/drawing/2014/main" id="{65F8D420-05A9-4C49-AB32-56730F84B798}"/>
              </a:ext>
            </a:extLst>
          </p:cNvPr>
          <p:cNvGrpSpPr/>
          <p:nvPr/>
        </p:nvGrpSpPr>
        <p:grpSpPr>
          <a:xfrm>
            <a:off x="5078748" y="3424768"/>
            <a:ext cx="69185" cy="160020"/>
            <a:chOff x="5746373" y="3913498"/>
            <a:chExt cx="98835" cy="304968"/>
          </a:xfrm>
        </p:grpSpPr>
        <p:cxnSp>
          <p:nvCxnSpPr>
            <p:cNvPr id="654" name="Straight Arrow Connector 653">
              <a:extLst>
                <a:ext uri="{FF2B5EF4-FFF2-40B4-BE49-F238E27FC236}">
                  <a16:creationId xmlns:a16="http://schemas.microsoft.com/office/drawing/2014/main" id="{2ADA520D-6F46-5EF0-BD4A-0D83791A825D}"/>
                </a:ext>
              </a:extLst>
            </p:cNvPr>
            <p:cNvCxnSpPr>
              <a:cxnSpLocks/>
            </p:cNvCxnSpPr>
            <p:nvPr/>
          </p:nvCxnSpPr>
          <p:spPr>
            <a:xfrm>
              <a:off x="5842663" y="3913498"/>
              <a:ext cx="2545" cy="304968"/>
            </a:xfrm>
            <a:prstGeom prst="straightConnector1">
              <a:avLst/>
            </a:prstGeom>
            <a:noFill/>
            <a:ln w="12700" cmpd="sng">
              <a:solidFill>
                <a:srgbClr val="38EF7D"/>
              </a:solidFill>
              <a:prstDash val="dash"/>
              <a:headEnd type="none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5" name="Straight Arrow Connector 654">
              <a:extLst>
                <a:ext uri="{FF2B5EF4-FFF2-40B4-BE49-F238E27FC236}">
                  <a16:creationId xmlns:a16="http://schemas.microsoft.com/office/drawing/2014/main" id="{E8C77D87-B695-4139-1D14-D7F3AAF0A595}"/>
                </a:ext>
              </a:extLst>
            </p:cNvPr>
            <p:cNvCxnSpPr>
              <a:cxnSpLocks/>
            </p:cNvCxnSpPr>
            <p:nvPr/>
          </p:nvCxnSpPr>
          <p:spPr>
            <a:xfrm>
              <a:off x="5746373" y="3913498"/>
              <a:ext cx="2545" cy="304968"/>
            </a:xfrm>
            <a:prstGeom prst="straightConnector1">
              <a:avLst/>
            </a:prstGeom>
            <a:noFill/>
            <a:ln w="12700" cmpd="sng">
              <a:solidFill>
                <a:srgbClr val="38EF7D"/>
              </a:solidFill>
              <a:prstDash val="dash"/>
              <a:headEnd type="arrow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656" name="Straight Arrow Connector 655">
            <a:extLst>
              <a:ext uri="{FF2B5EF4-FFF2-40B4-BE49-F238E27FC236}">
                <a16:creationId xmlns:a16="http://schemas.microsoft.com/office/drawing/2014/main" id="{CE2B1FA4-F292-7858-4517-3E741C0BEDFA}"/>
              </a:ext>
            </a:extLst>
          </p:cNvPr>
          <p:cNvCxnSpPr>
            <a:cxnSpLocks/>
          </p:cNvCxnSpPr>
          <p:nvPr/>
        </p:nvCxnSpPr>
        <p:spPr>
          <a:xfrm>
            <a:off x="4214277" y="4694696"/>
            <a:ext cx="1782" cy="213477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57" name="Group 656">
            <a:extLst>
              <a:ext uri="{FF2B5EF4-FFF2-40B4-BE49-F238E27FC236}">
                <a16:creationId xmlns:a16="http://schemas.microsoft.com/office/drawing/2014/main" id="{A7741746-DA08-907C-D297-1D1ED764580E}"/>
              </a:ext>
            </a:extLst>
          </p:cNvPr>
          <p:cNvGrpSpPr/>
          <p:nvPr/>
        </p:nvGrpSpPr>
        <p:grpSpPr>
          <a:xfrm>
            <a:off x="5821153" y="3424768"/>
            <a:ext cx="69185" cy="160020"/>
            <a:chOff x="5746373" y="3913498"/>
            <a:chExt cx="98835" cy="304968"/>
          </a:xfrm>
        </p:grpSpPr>
        <p:cxnSp>
          <p:nvCxnSpPr>
            <p:cNvPr id="658" name="Straight Arrow Connector 657">
              <a:extLst>
                <a:ext uri="{FF2B5EF4-FFF2-40B4-BE49-F238E27FC236}">
                  <a16:creationId xmlns:a16="http://schemas.microsoft.com/office/drawing/2014/main" id="{B99A642C-D726-316C-680B-38E856386120}"/>
                </a:ext>
              </a:extLst>
            </p:cNvPr>
            <p:cNvCxnSpPr>
              <a:cxnSpLocks/>
            </p:cNvCxnSpPr>
            <p:nvPr/>
          </p:nvCxnSpPr>
          <p:spPr>
            <a:xfrm>
              <a:off x="5842663" y="3913498"/>
              <a:ext cx="2545" cy="304968"/>
            </a:xfrm>
            <a:prstGeom prst="straightConnector1">
              <a:avLst/>
            </a:prstGeom>
            <a:noFill/>
            <a:ln w="12700" cmpd="sng">
              <a:solidFill>
                <a:srgbClr val="38EF7D"/>
              </a:solidFill>
              <a:prstDash val="dash"/>
              <a:headEnd type="none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9" name="Straight Arrow Connector 658">
              <a:extLst>
                <a:ext uri="{FF2B5EF4-FFF2-40B4-BE49-F238E27FC236}">
                  <a16:creationId xmlns:a16="http://schemas.microsoft.com/office/drawing/2014/main" id="{6926EEF7-2312-F3F9-DE2B-3F1AE88A63A4}"/>
                </a:ext>
              </a:extLst>
            </p:cNvPr>
            <p:cNvCxnSpPr>
              <a:cxnSpLocks/>
            </p:cNvCxnSpPr>
            <p:nvPr/>
          </p:nvCxnSpPr>
          <p:spPr>
            <a:xfrm>
              <a:off x="5746373" y="3913498"/>
              <a:ext cx="2545" cy="304968"/>
            </a:xfrm>
            <a:prstGeom prst="straightConnector1">
              <a:avLst/>
            </a:prstGeom>
            <a:noFill/>
            <a:ln w="12700" cmpd="sng">
              <a:solidFill>
                <a:srgbClr val="38EF7D"/>
              </a:solidFill>
              <a:prstDash val="dash"/>
              <a:headEnd type="arrow" w="med" len="sm"/>
              <a:tailEnd type="none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A7415F10-A434-EDE5-34A8-5DAC8069E4EC}"/>
              </a:ext>
            </a:extLst>
          </p:cNvPr>
          <p:cNvCxnSpPr>
            <a:cxnSpLocks/>
          </p:cNvCxnSpPr>
          <p:nvPr/>
        </p:nvCxnSpPr>
        <p:spPr>
          <a:xfrm>
            <a:off x="6688150" y="3834497"/>
            <a:ext cx="575319" cy="0"/>
          </a:xfrm>
          <a:prstGeom prst="line">
            <a:avLst/>
          </a:prstGeom>
          <a:ln w="53975" cap="rnd">
            <a:solidFill>
              <a:srgbClr val="D4DAD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Straight Connector 660">
            <a:extLst>
              <a:ext uri="{FF2B5EF4-FFF2-40B4-BE49-F238E27FC236}">
                <a16:creationId xmlns:a16="http://schemas.microsoft.com/office/drawing/2014/main" id="{62B431D9-3100-5EC7-AA4D-B7DCD9F5F764}"/>
              </a:ext>
            </a:extLst>
          </p:cNvPr>
          <p:cNvCxnSpPr>
            <a:cxnSpLocks/>
          </p:cNvCxnSpPr>
          <p:nvPr/>
        </p:nvCxnSpPr>
        <p:spPr>
          <a:xfrm flipH="1" flipV="1">
            <a:off x="1907230" y="3474331"/>
            <a:ext cx="832104" cy="0"/>
          </a:xfrm>
          <a:prstGeom prst="line">
            <a:avLst/>
          </a:prstGeom>
          <a:ln w="63500" cap="flat" cmpd="dbl">
            <a:solidFill>
              <a:srgbClr val="FF9900"/>
            </a:solidFill>
            <a:prstDash val="sysDot"/>
            <a:round/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D42BEFA4-F057-DE3E-31A2-548B4458A3A7}"/>
              </a:ext>
            </a:extLst>
          </p:cNvPr>
          <p:cNvCxnSpPr>
            <a:cxnSpLocks/>
          </p:cNvCxnSpPr>
          <p:nvPr/>
        </p:nvCxnSpPr>
        <p:spPr>
          <a:xfrm flipH="1" flipV="1">
            <a:off x="1907230" y="3802649"/>
            <a:ext cx="832104" cy="0"/>
          </a:xfrm>
          <a:prstGeom prst="line">
            <a:avLst/>
          </a:prstGeom>
          <a:ln w="63500" cap="flat" cmpd="dbl">
            <a:solidFill>
              <a:srgbClr val="FF9900"/>
            </a:solidFill>
            <a:prstDash val="sysDot"/>
            <a:round/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041B217-9BFD-2FCE-B86D-E049C7D32186}"/>
              </a:ext>
            </a:extLst>
          </p:cNvPr>
          <p:cNvCxnSpPr>
            <a:cxnSpLocks/>
          </p:cNvCxnSpPr>
          <p:nvPr/>
        </p:nvCxnSpPr>
        <p:spPr>
          <a:xfrm flipH="1" flipV="1">
            <a:off x="1907230" y="4123702"/>
            <a:ext cx="832104" cy="0"/>
          </a:xfrm>
          <a:prstGeom prst="line">
            <a:avLst/>
          </a:prstGeom>
          <a:ln w="63500" cap="flat" cmpd="dbl">
            <a:solidFill>
              <a:srgbClr val="FF9900"/>
            </a:solidFill>
            <a:prstDash val="sysDot"/>
            <a:round/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Arrow Connector 663">
            <a:extLst>
              <a:ext uri="{FF2B5EF4-FFF2-40B4-BE49-F238E27FC236}">
                <a16:creationId xmlns:a16="http://schemas.microsoft.com/office/drawing/2014/main" id="{995A57B4-41E3-5F03-35CB-7920B63C90BE}"/>
              </a:ext>
            </a:extLst>
          </p:cNvPr>
          <p:cNvCxnSpPr/>
          <p:nvPr/>
        </p:nvCxnSpPr>
        <p:spPr>
          <a:xfrm flipH="1">
            <a:off x="6280816" y="2342941"/>
            <a:ext cx="246944" cy="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5" name="Straight Arrow Connector 664">
            <a:extLst>
              <a:ext uri="{FF2B5EF4-FFF2-40B4-BE49-F238E27FC236}">
                <a16:creationId xmlns:a16="http://schemas.microsoft.com/office/drawing/2014/main" id="{308C4FE2-44E3-970C-2B74-C0D2580829C3}"/>
              </a:ext>
            </a:extLst>
          </p:cNvPr>
          <p:cNvCxnSpPr>
            <a:cxnSpLocks/>
          </p:cNvCxnSpPr>
          <p:nvPr/>
        </p:nvCxnSpPr>
        <p:spPr>
          <a:xfrm>
            <a:off x="6273416" y="2408167"/>
            <a:ext cx="246944" cy="0"/>
          </a:xfrm>
          <a:prstGeom prst="straightConnector1">
            <a:avLst/>
          </a:prstGeom>
          <a:noFill/>
          <a:ln w="12700" cmpd="sng">
            <a:solidFill>
              <a:srgbClr val="38EF7D"/>
            </a:solidFill>
            <a:prstDash val="dash"/>
            <a:headEnd type="arrow" w="med" len="sm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6" name="Rectangle 665">
            <a:extLst>
              <a:ext uri="{FF2B5EF4-FFF2-40B4-BE49-F238E27FC236}">
                <a16:creationId xmlns:a16="http://schemas.microsoft.com/office/drawing/2014/main" id="{1963C4E3-3563-6C9C-F096-78DABED3E0B6}"/>
              </a:ext>
            </a:extLst>
          </p:cNvPr>
          <p:cNvSpPr/>
          <p:nvPr/>
        </p:nvSpPr>
        <p:spPr>
          <a:xfrm>
            <a:off x="739576" y="2201386"/>
            <a:ext cx="1139407" cy="3324242"/>
          </a:xfrm>
          <a:prstGeom prst="rect">
            <a:avLst/>
          </a:prstGeom>
          <a:noFill/>
          <a:ln w="12700">
            <a:solidFill>
              <a:srgbClr val="D4D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004" tIns="32004" rIns="32004"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74F917ED-EBCB-9AAA-6E5E-367CD7C3ABAF}"/>
              </a:ext>
            </a:extLst>
          </p:cNvPr>
          <p:cNvSpPr/>
          <p:nvPr/>
        </p:nvSpPr>
        <p:spPr>
          <a:xfrm>
            <a:off x="2770007" y="2201386"/>
            <a:ext cx="5361263" cy="3324242"/>
          </a:xfrm>
          <a:prstGeom prst="rect">
            <a:avLst/>
          </a:prstGeom>
          <a:noFill/>
          <a:ln w="12700">
            <a:solidFill>
              <a:srgbClr val="D4D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004" tIns="32004" rIns="32004"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0BEBF7E6-61A2-D0E5-EB5B-92ADD6343D77}"/>
              </a:ext>
            </a:extLst>
          </p:cNvPr>
          <p:cNvSpPr/>
          <p:nvPr/>
        </p:nvSpPr>
        <p:spPr>
          <a:xfrm>
            <a:off x="609600" y="1867739"/>
            <a:ext cx="7689896" cy="3831818"/>
          </a:xfrm>
          <a:prstGeom prst="rect">
            <a:avLst/>
          </a:prstGeom>
          <a:noFill/>
          <a:ln w="12700">
            <a:solidFill>
              <a:srgbClr val="D4D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004" tIns="32004" rIns="32004" rtlCol="0" anchor="ctr"/>
          <a:lstStyle/>
          <a:p>
            <a:pPr marL="0" marR="0" lvl="0" indent="0" algn="ctr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azon Ember Display"/>
              <a:ea typeface="+mn-ea"/>
              <a:cs typeface="+mn-cs"/>
            </a:endParaRPr>
          </a:p>
        </p:txBody>
      </p: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92AD7841-2810-A6A5-709F-31D1EDAD943A}"/>
              </a:ext>
            </a:extLst>
          </p:cNvPr>
          <p:cNvCxnSpPr>
            <a:cxnSpLocks/>
          </p:cNvCxnSpPr>
          <p:nvPr/>
        </p:nvCxnSpPr>
        <p:spPr>
          <a:xfrm>
            <a:off x="6688150" y="4479607"/>
            <a:ext cx="575319" cy="0"/>
          </a:xfrm>
          <a:prstGeom prst="line">
            <a:avLst/>
          </a:prstGeom>
          <a:ln w="53975" cap="rnd">
            <a:solidFill>
              <a:srgbClr val="D4DAD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9EF9BFC6-13A4-E712-4D9A-9E416D87434B}"/>
              </a:ext>
            </a:extLst>
          </p:cNvPr>
          <p:cNvCxnSpPr>
            <a:cxnSpLocks/>
          </p:cNvCxnSpPr>
          <p:nvPr/>
        </p:nvCxnSpPr>
        <p:spPr>
          <a:xfrm>
            <a:off x="6688150" y="5124973"/>
            <a:ext cx="575319" cy="0"/>
          </a:xfrm>
          <a:prstGeom prst="line">
            <a:avLst/>
          </a:prstGeom>
          <a:ln w="53975" cap="rnd">
            <a:solidFill>
              <a:srgbClr val="D4DAD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1" name="Rectangle 670">
            <a:extLst>
              <a:ext uri="{FF2B5EF4-FFF2-40B4-BE49-F238E27FC236}">
                <a16:creationId xmlns:a16="http://schemas.microsoft.com/office/drawing/2014/main" id="{B7419A1F-4411-7FFA-CAF5-173435045934}"/>
              </a:ext>
            </a:extLst>
          </p:cNvPr>
          <p:cNvSpPr/>
          <p:nvPr/>
        </p:nvSpPr>
        <p:spPr>
          <a:xfrm>
            <a:off x="5021603" y="2042116"/>
            <a:ext cx="1039498" cy="249234"/>
          </a:xfrm>
          <a:prstGeom prst="rect">
            <a:avLst/>
          </a:prstGeom>
          <a:solidFill>
            <a:srgbClr val="010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672" name="TextBox 671">
            <a:extLst>
              <a:ext uri="{FF2B5EF4-FFF2-40B4-BE49-F238E27FC236}">
                <a16:creationId xmlns:a16="http://schemas.microsoft.com/office/drawing/2014/main" id="{018480E3-17E4-D9E7-CA51-3AD1F6FF5FF8}"/>
              </a:ext>
            </a:extLst>
          </p:cNvPr>
          <p:cNvSpPr txBox="1"/>
          <p:nvPr/>
        </p:nvSpPr>
        <p:spPr>
          <a:xfrm>
            <a:off x="1411875" y="1740876"/>
            <a:ext cx="3598101" cy="246221"/>
          </a:xfrm>
          <a:prstGeom prst="rect">
            <a:avLst/>
          </a:prstGeom>
          <a:solidFill>
            <a:srgbClr val="010419"/>
          </a:solidFill>
        </p:spPr>
        <p:txBody>
          <a:bodyPr wrap="none" lIns="71120" tIns="0" rIns="71120" bIns="0" rtlCol="0">
            <a:spAutoFit/>
          </a:bodyPr>
          <a:lstStyle/>
          <a:p>
            <a:pPr marL="0" marR="0" lvl="0" indent="0" algn="l" defTabSz="64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Second-generati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EC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mazon Ember Display"/>
                <a:ea typeface="+mn-ea"/>
                <a:cs typeface="+mn-cs"/>
              </a:rPr>
              <a:t>UltraClusters</a:t>
            </a: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B2D9E48D-02A7-B1CB-F455-178BE3BBBA01}"/>
              </a:ext>
            </a:extLst>
          </p:cNvPr>
          <p:cNvSpPr/>
          <p:nvPr/>
        </p:nvSpPr>
        <p:spPr>
          <a:xfrm>
            <a:off x="891866" y="2046963"/>
            <a:ext cx="834825" cy="299525"/>
          </a:xfrm>
          <a:prstGeom prst="rect">
            <a:avLst/>
          </a:prstGeom>
          <a:solidFill>
            <a:srgbClr val="010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560" tIns="35560" rIns="3556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8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pic>
        <p:nvPicPr>
          <p:cNvPr id="674" name="Graphic 673">
            <a:extLst>
              <a:ext uri="{FF2B5EF4-FFF2-40B4-BE49-F238E27FC236}">
                <a16:creationId xmlns:a16="http://schemas.microsoft.com/office/drawing/2014/main" id="{EA0C0205-1902-5743-CC37-36D533D30C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416" y="2057935"/>
            <a:ext cx="768096" cy="281502"/>
          </a:xfrm>
          <a:prstGeom prst="rect">
            <a:avLst/>
          </a:prstGeom>
        </p:spPr>
      </p:pic>
      <p:pic>
        <p:nvPicPr>
          <p:cNvPr id="675" name="Picture 674" descr="A computer circuit board with orange and white symbols&#10;&#10;Description automatically generated">
            <a:extLst>
              <a:ext uri="{FF2B5EF4-FFF2-40B4-BE49-F238E27FC236}">
                <a16:creationId xmlns:a16="http://schemas.microsoft.com/office/drawing/2014/main" id="{968796A9-56EE-5996-FA21-CA43E6D642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320" y="1901667"/>
            <a:ext cx="876332" cy="613433"/>
          </a:xfrm>
          <a:prstGeom prst="rect">
            <a:avLst/>
          </a:prstGeom>
        </p:spPr>
      </p:pic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C8A85B5C-1C64-F9B7-DE04-35B7D5008D4F}"/>
              </a:ext>
            </a:extLst>
          </p:cNvPr>
          <p:cNvCxnSpPr/>
          <p:nvPr/>
        </p:nvCxnSpPr>
        <p:spPr>
          <a:xfrm>
            <a:off x="1881626" y="3387422"/>
            <a:ext cx="0" cy="835290"/>
          </a:xfrm>
          <a:prstGeom prst="line">
            <a:avLst/>
          </a:prstGeom>
          <a:ln w="76200" cap="rnd">
            <a:solidFill>
              <a:srgbClr val="FF99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53CCF997-DB66-6C05-2526-F54FB33E38DF}"/>
              </a:ext>
            </a:extLst>
          </p:cNvPr>
          <p:cNvCxnSpPr/>
          <p:nvPr/>
        </p:nvCxnSpPr>
        <p:spPr>
          <a:xfrm>
            <a:off x="2764936" y="3387422"/>
            <a:ext cx="0" cy="835290"/>
          </a:xfrm>
          <a:prstGeom prst="line">
            <a:avLst/>
          </a:prstGeom>
          <a:ln w="76200" cap="rnd">
            <a:solidFill>
              <a:srgbClr val="FF99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1" name="Title 1">
            <a:extLst>
              <a:ext uri="{FF2B5EF4-FFF2-40B4-BE49-F238E27FC236}">
                <a16:creationId xmlns:a16="http://schemas.microsoft.com/office/drawing/2014/main" id="{6659A2F7-B197-BA8A-F903-655ECD72A0EE}"/>
              </a:ext>
            </a:extLst>
          </p:cNvPr>
          <p:cNvSpPr txBox="1">
            <a:spLocks/>
          </p:cNvSpPr>
          <p:nvPr/>
        </p:nvSpPr>
        <p:spPr>
          <a:xfrm>
            <a:off x="422847" y="464529"/>
            <a:ext cx="10933200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rgbClr val="009CA5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AWS provides flexibility but also reserved capacity and scale to 20 exaflops</a:t>
            </a:r>
          </a:p>
        </p:txBody>
      </p:sp>
      <p:sp>
        <p:nvSpPr>
          <p:cNvPr id="682" name="TextBox 681">
            <a:extLst>
              <a:ext uri="{FF2B5EF4-FFF2-40B4-BE49-F238E27FC236}">
                <a16:creationId xmlns:a16="http://schemas.microsoft.com/office/drawing/2014/main" id="{6DF4DC14-A1AA-A3AD-5D7C-DC761DCE8707}"/>
              </a:ext>
            </a:extLst>
          </p:cNvPr>
          <p:cNvSpPr txBox="1"/>
          <p:nvPr/>
        </p:nvSpPr>
        <p:spPr>
          <a:xfrm>
            <a:off x="520383" y="977188"/>
            <a:ext cx="10363200" cy="62701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THE LARGEST-SCALE ML INFRASTRUCTURE IN THE WORLD</a:t>
            </a:r>
          </a:p>
        </p:txBody>
      </p:sp>
    </p:spTree>
    <p:extLst>
      <p:ext uri="{BB962C8B-B14F-4D97-AF65-F5344CB8AC3E}">
        <p14:creationId xmlns:p14="http://schemas.microsoft.com/office/powerpoint/2010/main" val="16504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1.48148E-6 L 0.01472 -1.48148E-6 " pathEditMode="relative" rAng="0" ptsTypes="AA">
                                      <p:cBhvr>
                                        <p:cTn id="9" dur="6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4C940B2D-7868-079C-8253-995B2EC8B0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940B2D-7868-079C-8253-995B2EC8B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2D58A9-BC1E-4EB5-8D9C-8A410D466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63496"/>
            <a:ext cx="11490251" cy="535531"/>
          </a:xfrm>
        </p:spPr>
        <p:txBody>
          <a:bodyPr vert="horz"/>
          <a:lstStyle/>
          <a:p>
            <a:r>
              <a:rPr lang="en-US" sz="3200" dirty="0"/>
              <a:t>SageMaker HyperPod provides a resilient cluster for model development and deploym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5D942F3-1176-126F-2AC2-0362117FB494}"/>
              </a:ext>
            </a:extLst>
          </p:cNvPr>
          <p:cNvSpPr/>
          <p:nvPr/>
        </p:nvSpPr>
        <p:spPr>
          <a:xfrm>
            <a:off x="609600" y="4178336"/>
            <a:ext cx="3462565" cy="1631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Identify and replace potentially problematic instances during cluster creation and upda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F3BCE4-2D63-A64D-D87B-6F8018E021F4}"/>
              </a:ext>
            </a:extLst>
          </p:cNvPr>
          <p:cNvSpPr txBox="1"/>
          <p:nvPr/>
        </p:nvSpPr>
        <p:spPr>
          <a:xfrm>
            <a:off x="609600" y="3145258"/>
            <a:ext cx="1697188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1B3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Deep health check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BE613DC-C708-282A-1DA0-67130734FB50}"/>
              </a:ext>
            </a:extLst>
          </p:cNvPr>
          <p:cNvCxnSpPr>
            <a:cxnSpLocks/>
          </p:cNvCxnSpPr>
          <p:nvPr/>
        </p:nvCxnSpPr>
        <p:spPr>
          <a:xfrm>
            <a:off x="609600" y="3980167"/>
            <a:ext cx="2290763" cy="0"/>
          </a:xfrm>
          <a:prstGeom prst="line">
            <a:avLst/>
          </a:prstGeom>
          <a:noFill/>
          <a:ln w="19050" cap="flat">
            <a:gradFill flip="none" rotWithShape="1">
              <a:gsLst>
                <a:gs pos="0">
                  <a:srgbClr val="CE2D61"/>
                </a:gs>
                <a:gs pos="50000">
                  <a:srgbClr val="AE367B"/>
                </a:gs>
                <a:gs pos="100000">
                  <a:srgbClr val="7F5CF2"/>
                </a:gs>
              </a:gsLst>
              <a:lin ang="10800000" scaled="1"/>
              <a:tileRect/>
            </a:gradFill>
            <a:prstDash val="solid"/>
            <a:round/>
          </a:ln>
        </p:spPr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7F0BB2B3-F090-E9FB-6321-E04281DD8098}"/>
              </a:ext>
            </a:extLst>
          </p:cNvPr>
          <p:cNvSpPr>
            <a:spLocks/>
          </p:cNvSpPr>
          <p:nvPr/>
        </p:nvSpPr>
        <p:spPr>
          <a:xfrm>
            <a:off x="4407907" y="4178337"/>
            <a:ext cx="3069217" cy="837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Automatically monitors cluster health for hardware failures and remediates the issu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C96C3E-ACF3-017D-56A6-B0A0CCB5BEAB}"/>
              </a:ext>
            </a:extLst>
          </p:cNvPr>
          <p:cNvSpPr txBox="1"/>
          <p:nvPr/>
        </p:nvSpPr>
        <p:spPr>
          <a:xfrm>
            <a:off x="4407907" y="3145258"/>
            <a:ext cx="2678693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1B3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Automated hardware health monitoring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50CD678-F842-C625-0B26-463CD7E1FDD2}"/>
              </a:ext>
            </a:extLst>
          </p:cNvPr>
          <p:cNvCxnSpPr>
            <a:cxnSpLocks/>
          </p:cNvCxnSpPr>
          <p:nvPr/>
        </p:nvCxnSpPr>
        <p:spPr>
          <a:xfrm>
            <a:off x="4407907" y="3980167"/>
            <a:ext cx="2290763" cy="0"/>
          </a:xfrm>
          <a:prstGeom prst="line">
            <a:avLst/>
          </a:prstGeom>
          <a:noFill/>
          <a:ln w="19050" cap="flat">
            <a:gradFill flip="none" rotWithShape="1">
              <a:gsLst>
                <a:gs pos="0">
                  <a:srgbClr val="CE2D61"/>
                </a:gs>
                <a:gs pos="50000">
                  <a:srgbClr val="AE367B"/>
                </a:gs>
                <a:gs pos="100000">
                  <a:srgbClr val="7F5CF2"/>
                </a:gs>
              </a:gsLst>
              <a:lin ang="10800000" scaled="1"/>
              <a:tileRect/>
            </a:gradFill>
            <a:prstDash val="solid"/>
            <a:round/>
          </a:ln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F327DBC5-6689-AB43-8CD9-5D79C0411415}"/>
              </a:ext>
            </a:extLst>
          </p:cNvPr>
          <p:cNvSpPr>
            <a:spLocks/>
          </p:cNvSpPr>
          <p:nvPr/>
        </p:nvSpPr>
        <p:spPr>
          <a:xfrm>
            <a:off x="8250464" y="4178336"/>
            <a:ext cx="3331936" cy="12604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Automatically resumes the training process from the last saved checkpoi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D58C00B-D33F-4A58-1755-596A279A9B14}"/>
              </a:ext>
            </a:extLst>
          </p:cNvPr>
          <p:cNvSpPr txBox="1"/>
          <p:nvPr/>
        </p:nvSpPr>
        <p:spPr>
          <a:xfrm>
            <a:off x="8250462" y="3145258"/>
            <a:ext cx="2449571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1B3FF"/>
                </a:solidFill>
                <a:effectLst/>
                <a:uLnTx/>
                <a:uFillTx/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Auto-repair &amp; job auto-resum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4F7666A-621B-0627-5FE6-296D1E281724}"/>
              </a:ext>
            </a:extLst>
          </p:cNvPr>
          <p:cNvCxnSpPr>
            <a:cxnSpLocks/>
          </p:cNvCxnSpPr>
          <p:nvPr/>
        </p:nvCxnSpPr>
        <p:spPr>
          <a:xfrm>
            <a:off x="8250463" y="3980167"/>
            <a:ext cx="2290763" cy="0"/>
          </a:xfrm>
          <a:prstGeom prst="line">
            <a:avLst/>
          </a:prstGeom>
          <a:noFill/>
          <a:ln w="19050" cap="flat">
            <a:gradFill flip="none" rotWithShape="1">
              <a:gsLst>
                <a:gs pos="0">
                  <a:srgbClr val="CE2D61"/>
                </a:gs>
                <a:gs pos="50000">
                  <a:srgbClr val="AE367B"/>
                </a:gs>
                <a:gs pos="100000">
                  <a:srgbClr val="7F5CF2"/>
                </a:gs>
              </a:gsLst>
              <a:lin ang="10800000" scaled="1"/>
              <a:tileRect/>
            </a:gradFill>
            <a:prstDash val="solid"/>
            <a:round/>
          </a:ln>
        </p:spPr>
      </p:cxn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25C951CC-C431-3E49-3D4E-8A09959519AB}"/>
              </a:ext>
            </a:extLst>
          </p:cNvPr>
          <p:cNvSpPr txBox="1">
            <a:spLocks/>
          </p:cNvSpPr>
          <p:nvPr/>
        </p:nvSpPr>
        <p:spPr>
          <a:xfrm>
            <a:off x="8929200" y="6289500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4B8DE2-A4E8-46E4-8BBF-D75455EFF32C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3F3F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3F3F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BE22ADD-9BFA-883E-3D49-F2C05569224A}"/>
              </a:ext>
            </a:extLst>
          </p:cNvPr>
          <p:cNvGrpSpPr/>
          <p:nvPr/>
        </p:nvGrpSpPr>
        <p:grpSpPr>
          <a:xfrm>
            <a:off x="8250461" y="1965732"/>
            <a:ext cx="1187625" cy="807239"/>
            <a:chOff x="8250461" y="2724150"/>
            <a:chExt cx="1187625" cy="807239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1902FDC-C2AD-7475-FCB9-8D193E0557EE}"/>
                </a:ext>
              </a:extLst>
            </p:cNvPr>
            <p:cNvSpPr/>
            <p:nvPr/>
          </p:nvSpPr>
          <p:spPr>
            <a:xfrm>
              <a:off x="8250461" y="2919618"/>
              <a:ext cx="554091" cy="611771"/>
            </a:xfrm>
            <a:custGeom>
              <a:avLst/>
              <a:gdLst>
                <a:gd name="connsiteX0" fmla="*/ 207057 w 215036"/>
                <a:gd name="connsiteY0" fmla="*/ 60599 h 237420"/>
                <a:gd name="connsiteX1" fmla="*/ 208948 w 215036"/>
                <a:gd name="connsiteY1" fmla="*/ 57853 h 237420"/>
                <a:gd name="connsiteX2" fmla="*/ 215036 w 215036"/>
                <a:gd name="connsiteY2" fmla="*/ 49096 h 237420"/>
                <a:gd name="connsiteX3" fmla="*/ 210192 w 215036"/>
                <a:gd name="connsiteY3" fmla="*/ 43577 h 237420"/>
                <a:gd name="connsiteX4" fmla="*/ 205347 w 215036"/>
                <a:gd name="connsiteY4" fmla="*/ 38059 h 237420"/>
                <a:gd name="connsiteX5" fmla="*/ 200528 w 215036"/>
                <a:gd name="connsiteY5" fmla="*/ 32540 h 237420"/>
                <a:gd name="connsiteX6" fmla="*/ 167728 w 215036"/>
                <a:gd name="connsiteY6" fmla="*/ 49355 h 237420"/>
                <a:gd name="connsiteX7" fmla="*/ 144152 w 215036"/>
                <a:gd name="connsiteY7" fmla="*/ 37644 h 237420"/>
                <a:gd name="connsiteX8" fmla="*/ 137571 w 215036"/>
                <a:gd name="connsiteY8" fmla="*/ 1373 h 237420"/>
                <a:gd name="connsiteX9" fmla="*/ 130369 w 215036"/>
                <a:gd name="connsiteY9" fmla="*/ 959 h 237420"/>
                <a:gd name="connsiteX10" fmla="*/ 122933 w 215036"/>
                <a:gd name="connsiteY10" fmla="*/ 518 h 237420"/>
                <a:gd name="connsiteX11" fmla="*/ 115601 w 215036"/>
                <a:gd name="connsiteY11" fmla="*/ 0 h 237420"/>
                <a:gd name="connsiteX12" fmla="*/ 104461 w 215036"/>
                <a:gd name="connsiteY12" fmla="*/ 34976 h 237420"/>
                <a:gd name="connsiteX13" fmla="*/ 79408 w 215036"/>
                <a:gd name="connsiteY13" fmla="*/ 43448 h 237420"/>
                <a:gd name="connsiteX14" fmla="*/ 49122 w 215036"/>
                <a:gd name="connsiteY14" fmla="*/ 22514 h 237420"/>
                <a:gd name="connsiteX15" fmla="*/ 43603 w 215036"/>
                <a:gd name="connsiteY15" fmla="*/ 27359 h 237420"/>
                <a:gd name="connsiteX16" fmla="*/ 38085 w 215036"/>
                <a:gd name="connsiteY16" fmla="*/ 32178 h 237420"/>
                <a:gd name="connsiteX17" fmla="*/ 32566 w 215036"/>
                <a:gd name="connsiteY17" fmla="*/ 37023 h 237420"/>
                <a:gd name="connsiteX18" fmla="*/ 49329 w 215036"/>
                <a:gd name="connsiteY18" fmla="*/ 69693 h 237420"/>
                <a:gd name="connsiteX19" fmla="*/ 37618 w 215036"/>
                <a:gd name="connsiteY19" fmla="*/ 93424 h 237420"/>
                <a:gd name="connsiteX20" fmla="*/ 1347 w 215036"/>
                <a:gd name="connsiteY20" fmla="*/ 99979 h 237420"/>
                <a:gd name="connsiteX21" fmla="*/ 881 w 215036"/>
                <a:gd name="connsiteY21" fmla="*/ 107285 h 237420"/>
                <a:gd name="connsiteX22" fmla="*/ 492 w 215036"/>
                <a:gd name="connsiteY22" fmla="*/ 114513 h 237420"/>
                <a:gd name="connsiteX23" fmla="*/ 0 w 215036"/>
                <a:gd name="connsiteY23" fmla="*/ 121845 h 237420"/>
                <a:gd name="connsiteX24" fmla="*/ 35028 w 215036"/>
                <a:gd name="connsiteY24" fmla="*/ 133115 h 237420"/>
                <a:gd name="connsiteX25" fmla="*/ 43525 w 215036"/>
                <a:gd name="connsiteY25" fmla="*/ 158039 h 237420"/>
                <a:gd name="connsiteX26" fmla="*/ 22540 w 215036"/>
                <a:gd name="connsiteY26" fmla="*/ 188325 h 237420"/>
                <a:gd name="connsiteX27" fmla="*/ 27359 w 215036"/>
                <a:gd name="connsiteY27" fmla="*/ 193844 h 237420"/>
                <a:gd name="connsiteX28" fmla="*/ 32204 w 215036"/>
                <a:gd name="connsiteY28" fmla="*/ 199362 h 237420"/>
                <a:gd name="connsiteX29" fmla="*/ 37100 w 215036"/>
                <a:gd name="connsiteY29" fmla="*/ 204984 h 237420"/>
                <a:gd name="connsiteX30" fmla="*/ 69952 w 215036"/>
                <a:gd name="connsiteY30" fmla="*/ 188144 h 237420"/>
                <a:gd name="connsiteX31" fmla="*/ 93450 w 215036"/>
                <a:gd name="connsiteY31" fmla="*/ 199699 h 237420"/>
                <a:gd name="connsiteX32" fmla="*/ 100031 w 215036"/>
                <a:gd name="connsiteY32" fmla="*/ 235970 h 237420"/>
                <a:gd name="connsiteX33" fmla="*/ 107363 w 215036"/>
                <a:gd name="connsiteY33" fmla="*/ 236462 h 237420"/>
                <a:gd name="connsiteX34" fmla="*/ 114695 w 215036"/>
                <a:gd name="connsiteY34" fmla="*/ 236955 h 237420"/>
                <a:gd name="connsiteX35" fmla="*/ 122001 w 215036"/>
                <a:gd name="connsiteY35" fmla="*/ 237421 h 237420"/>
                <a:gd name="connsiteX36" fmla="*/ 133348 w 215036"/>
                <a:gd name="connsiteY36" fmla="*/ 202186 h 237420"/>
                <a:gd name="connsiteX37" fmla="*/ 158039 w 215036"/>
                <a:gd name="connsiteY37" fmla="*/ 193792 h 237420"/>
                <a:gd name="connsiteX38" fmla="*/ 188507 w 215036"/>
                <a:gd name="connsiteY38" fmla="*/ 214907 h 237420"/>
                <a:gd name="connsiteX39" fmla="*/ 194025 w 215036"/>
                <a:gd name="connsiteY39" fmla="*/ 210062 h 237420"/>
                <a:gd name="connsiteX40" fmla="*/ 199543 w 215036"/>
                <a:gd name="connsiteY40" fmla="*/ 205243 h 237420"/>
                <a:gd name="connsiteX41" fmla="*/ 205062 w 215036"/>
                <a:gd name="connsiteY41" fmla="*/ 200398 h 237420"/>
                <a:gd name="connsiteX42" fmla="*/ 197730 w 215036"/>
                <a:gd name="connsiteY42" fmla="*/ 186175 h 23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15036" h="237420">
                  <a:moveTo>
                    <a:pt x="207057" y="60599"/>
                  </a:moveTo>
                  <a:lnTo>
                    <a:pt x="208948" y="57853"/>
                  </a:lnTo>
                  <a:lnTo>
                    <a:pt x="215036" y="49096"/>
                  </a:lnTo>
                  <a:lnTo>
                    <a:pt x="210192" y="43577"/>
                  </a:lnTo>
                  <a:lnTo>
                    <a:pt x="205347" y="38059"/>
                  </a:lnTo>
                  <a:lnTo>
                    <a:pt x="200528" y="32540"/>
                  </a:lnTo>
                  <a:lnTo>
                    <a:pt x="167728" y="49355"/>
                  </a:lnTo>
                  <a:cubicBezTo>
                    <a:pt x="160529" y="44245"/>
                    <a:pt x="152574" y="40294"/>
                    <a:pt x="144152" y="37644"/>
                  </a:cubicBezTo>
                  <a:lnTo>
                    <a:pt x="137571" y="1373"/>
                  </a:lnTo>
                  <a:lnTo>
                    <a:pt x="130369" y="959"/>
                  </a:lnTo>
                  <a:lnTo>
                    <a:pt x="122933" y="518"/>
                  </a:lnTo>
                  <a:lnTo>
                    <a:pt x="115601" y="0"/>
                  </a:lnTo>
                  <a:lnTo>
                    <a:pt x="104461" y="34976"/>
                  </a:lnTo>
                  <a:cubicBezTo>
                    <a:pt x="95713" y="36452"/>
                    <a:pt x="87256" y="39311"/>
                    <a:pt x="79408" y="43448"/>
                  </a:cubicBezTo>
                  <a:lnTo>
                    <a:pt x="49122" y="22514"/>
                  </a:lnTo>
                  <a:lnTo>
                    <a:pt x="43603" y="27359"/>
                  </a:lnTo>
                  <a:lnTo>
                    <a:pt x="38085" y="32178"/>
                  </a:lnTo>
                  <a:lnTo>
                    <a:pt x="32566" y="37023"/>
                  </a:lnTo>
                  <a:lnTo>
                    <a:pt x="49329" y="69693"/>
                  </a:lnTo>
                  <a:cubicBezTo>
                    <a:pt x="44197" y="76935"/>
                    <a:pt x="40244" y="84945"/>
                    <a:pt x="37618" y="93424"/>
                  </a:cubicBezTo>
                  <a:lnTo>
                    <a:pt x="1347" y="99979"/>
                  </a:lnTo>
                  <a:lnTo>
                    <a:pt x="881" y="107285"/>
                  </a:lnTo>
                  <a:lnTo>
                    <a:pt x="492" y="114513"/>
                  </a:lnTo>
                  <a:lnTo>
                    <a:pt x="0" y="121845"/>
                  </a:lnTo>
                  <a:lnTo>
                    <a:pt x="35028" y="133115"/>
                  </a:lnTo>
                  <a:cubicBezTo>
                    <a:pt x="36549" y="141815"/>
                    <a:pt x="39416" y="150222"/>
                    <a:pt x="43525" y="158039"/>
                  </a:cubicBezTo>
                  <a:lnTo>
                    <a:pt x="22540" y="188325"/>
                  </a:lnTo>
                  <a:lnTo>
                    <a:pt x="27359" y="193844"/>
                  </a:lnTo>
                  <a:lnTo>
                    <a:pt x="32204" y="199362"/>
                  </a:lnTo>
                  <a:lnTo>
                    <a:pt x="37100" y="204984"/>
                  </a:lnTo>
                  <a:lnTo>
                    <a:pt x="69952" y="188144"/>
                  </a:lnTo>
                  <a:cubicBezTo>
                    <a:pt x="77130" y="193204"/>
                    <a:pt x="85060" y="197103"/>
                    <a:pt x="93450" y="199699"/>
                  </a:cubicBezTo>
                  <a:lnTo>
                    <a:pt x="100031" y="235970"/>
                  </a:lnTo>
                  <a:lnTo>
                    <a:pt x="107363" y="236462"/>
                  </a:lnTo>
                  <a:lnTo>
                    <a:pt x="114695" y="236955"/>
                  </a:lnTo>
                  <a:lnTo>
                    <a:pt x="122001" y="237421"/>
                  </a:lnTo>
                  <a:lnTo>
                    <a:pt x="133348" y="202186"/>
                  </a:lnTo>
                  <a:cubicBezTo>
                    <a:pt x="141965" y="200689"/>
                    <a:pt x="150295" y="197857"/>
                    <a:pt x="158039" y="193792"/>
                  </a:cubicBezTo>
                  <a:lnTo>
                    <a:pt x="188507" y="214907"/>
                  </a:lnTo>
                  <a:lnTo>
                    <a:pt x="194025" y="210062"/>
                  </a:lnTo>
                  <a:lnTo>
                    <a:pt x="199543" y="205243"/>
                  </a:lnTo>
                  <a:lnTo>
                    <a:pt x="205062" y="200398"/>
                  </a:lnTo>
                  <a:lnTo>
                    <a:pt x="197730" y="186175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471B41B-EDA2-25D0-DDF0-4722A4FFAB1E}"/>
                </a:ext>
              </a:extLst>
            </p:cNvPr>
            <p:cNvSpPr/>
            <p:nvPr/>
          </p:nvSpPr>
          <p:spPr>
            <a:xfrm>
              <a:off x="8434649" y="3103706"/>
              <a:ext cx="164489" cy="243966"/>
            </a:xfrm>
            <a:custGeom>
              <a:avLst/>
              <a:gdLst>
                <a:gd name="connsiteX0" fmla="*/ 61246 w 63836"/>
                <a:gd name="connsiteY0" fmla="*/ 92581 h 94680"/>
                <a:gd name="connsiteX1" fmla="*/ 2099 w 63836"/>
                <a:gd name="connsiteY1" fmla="*/ 61232 h 94680"/>
                <a:gd name="connsiteX2" fmla="*/ 33447 w 63836"/>
                <a:gd name="connsiteY2" fmla="*/ 2087 h 94680"/>
                <a:gd name="connsiteX3" fmla="*/ 63837 w 63836"/>
                <a:gd name="connsiteY3" fmla="*/ 2965 h 9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36" h="94680">
                  <a:moveTo>
                    <a:pt x="61246" y="92581"/>
                  </a:moveTo>
                  <a:cubicBezTo>
                    <a:pt x="36257" y="100258"/>
                    <a:pt x="9776" y="86223"/>
                    <a:pt x="2099" y="61232"/>
                  </a:cubicBezTo>
                  <a:cubicBezTo>
                    <a:pt x="-5577" y="36244"/>
                    <a:pt x="8458" y="9764"/>
                    <a:pt x="33447" y="2087"/>
                  </a:cubicBezTo>
                  <a:cubicBezTo>
                    <a:pt x="43398" y="-970"/>
                    <a:pt x="54079" y="-661"/>
                    <a:pt x="63837" y="2965"/>
                  </a:cubicBezTo>
                </a:path>
              </a:pathLst>
            </a:custGeom>
            <a:noFill/>
            <a:ln w="12700" cap="flat">
              <a:gradFill>
                <a:gsLst>
                  <a:gs pos="0">
                    <a:srgbClr val="CE2D61"/>
                  </a:gs>
                  <a:gs pos="50000">
                    <a:srgbClr val="AE367B"/>
                  </a:gs>
                  <a:gs pos="100000">
                    <a:srgbClr val="7F5CF2"/>
                  </a:gs>
                </a:gsLst>
                <a:lin ang="5400000" scaled="1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CA5D41E-D975-F27E-EA7D-A1899E8B1BBC}"/>
                </a:ext>
              </a:extLst>
            </p:cNvPr>
            <p:cNvSpPr/>
            <p:nvPr/>
          </p:nvSpPr>
          <p:spPr>
            <a:xfrm>
              <a:off x="8831790" y="2724150"/>
              <a:ext cx="391200" cy="391200"/>
            </a:xfrm>
            <a:custGeom>
              <a:avLst/>
              <a:gdLst>
                <a:gd name="connsiteX0" fmla="*/ 14301 w 151820"/>
                <a:gd name="connsiteY0" fmla="*/ 120420 h 151820"/>
                <a:gd name="connsiteX1" fmla="*/ 17384 w 151820"/>
                <a:gd name="connsiteY1" fmla="*/ 123944 h 151820"/>
                <a:gd name="connsiteX2" fmla="*/ 20467 w 151820"/>
                <a:gd name="connsiteY2" fmla="*/ 127467 h 151820"/>
                <a:gd name="connsiteX3" fmla="*/ 23576 w 151820"/>
                <a:gd name="connsiteY3" fmla="*/ 130991 h 151820"/>
                <a:gd name="connsiteX4" fmla="*/ 44665 w 151820"/>
                <a:gd name="connsiteY4" fmla="*/ 120161 h 151820"/>
                <a:gd name="connsiteX5" fmla="*/ 59666 w 151820"/>
                <a:gd name="connsiteY5" fmla="*/ 127545 h 151820"/>
                <a:gd name="connsiteX6" fmla="*/ 63889 w 151820"/>
                <a:gd name="connsiteY6" fmla="*/ 150862 h 151820"/>
                <a:gd name="connsiteX7" fmla="*/ 68553 w 151820"/>
                <a:gd name="connsiteY7" fmla="*/ 151173 h 151820"/>
                <a:gd name="connsiteX8" fmla="*/ 73164 w 151820"/>
                <a:gd name="connsiteY8" fmla="*/ 151510 h 151820"/>
                <a:gd name="connsiteX9" fmla="*/ 77828 w 151820"/>
                <a:gd name="connsiteY9" fmla="*/ 151821 h 151820"/>
                <a:gd name="connsiteX10" fmla="*/ 85082 w 151820"/>
                <a:gd name="connsiteY10" fmla="*/ 129307 h 151820"/>
                <a:gd name="connsiteX11" fmla="*/ 100834 w 151820"/>
                <a:gd name="connsiteY11" fmla="*/ 123944 h 151820"/>
                <a:gd name="connsiteX12" fmla="*/ 120291 w 151820"/>
                <a:gd name="connsiteY12" fmla="*/ 137442 h 151820"/>
                <a:gd name="connsiteX13" fmla="*/ 123814 w 151820"/>
                <a:gd name="connsiteY13" fmla="*/ 134333 h 151820"/>
                <a:gd name="connsiteX14" fmla="*/ 127364 w 151820"/>
                <a:gd name="connsiteY14" fmla="*/ 131250 h 151820"/>
                <a:gd name="connsiteX15" fmla="*/ 130861 w 151820"/>
                <a:gd name="connsiteY15" fmla="*/ 128193 h 151820"/>
                <a:gd name="connsiteX16" fmla="*/ 120058 w 151820"/>
                <a:gd name="connsiteY16" fmla="*/ 107130 h 151820"/>
                <a:gd name="connsiteX17" fmla="*/ 127571 w 151820"/>
                <a:gd name="connsiteY17" fmla="*/ 92077 h 151820"/>
                <a:gd name="connsiteX18" fmla="*/ 150888 w 151820"/>
                <a:gd name="connsiteY18" fmla="*/ 87854 h 151820"/>
                <a:gd name="connsiteX19" fmla="*/ 151199 w 151820"/>
                <a:gd name="connsiteY19" fmla="*/ 83165 h 151820"/>
                <a:gd name="connsiteX20" fmla="*/ 151510 w 151820"/>
                <a:gd name="connsiteY20" fmla="*/ 78501 h 151820"/>
                <a:gd name="connsiteX21" fmla="*/ 151821 w 151820"/>
                <a:gd name="connsiteY21" fmla="*/ 73838 h 151820"/>
                <a:gd name="connsiteX22" fmla="*/ 129333 w 151820"/>
                <a:gd name="connsiteY22" fmla="*/ 66584 h 151820"/>
                <a:gd name="connsiteX23" fmla="*/ 123996 w 151820"/>
                <a:gd name="connsiteY23" fmla="*/ 50728 h 151820"/>
                <a:gd name="connsiteX24" fmla="*/ 137442 w 151820"/>
                <a:gd name="connsiteY24" fmla="*/ 31349 h 151820"/>
                <a:gd name="connsiteX25" fmla="*/ 134333 w 151820"/>
                <a:gd name="connsiteY25" fmla="*/ 27825 h 151820"/>
                <a:gd name="connsiteX26" fmla="*/ 131250 w 151820"/>
                <a:gd name="connsiteY26" fmla="*/ 24302 h 151820"/>
                <a:gd name="connsiteX27" fmla="*/ 128167 w 151820"/>
                <a:gd name="connsiteY27" fmla="*/ 20778 h 151820"/>
                <a:gd name="connsiteX28" fmla="*/ 107233 w 151820"/>
                <a:gd name="connsiteY28" fmla="*/ 31530 h 151820"/>
                <a:gd name="connsiteX29" fmla="*/ 92155 w 151820"/>
                <a:gd name="connsiteY29" fmla="*/ 24043 h 151820"/>
                <a:gd name="connsiteX30" fmla="*/ 87958 w 151820"/>
                <a:gd name="connsiteY30" fmla="*/ 907 h 151820"/>
                <a:gd name="connsiteX31" fmla="*/ 83294 w 151820"/>
                <a:gd name="connsiteY31" fmla="*/ 622 h 151820"/>
                <a:gd name="connsiteX32" fmla="*/ 78346 w 151820"/>
                <a:gd name="connsiteY32" fmla="*/ 285 h 151820"/>
                <a:gd name="connsiteX33" fmla="*/ 73682 w 151820"/>
                <a:gd name="connsiteY33" fmla="*/ 0 h 151820"/>
                <a:gd name="connsiteX34" fmla="*/ 66480 w 151820"/>
                <a:gd name="connsiteY34" fmla="*/ 22333 h 151820"/>
                <a:gd name="connsiteX35" fmla="*/ 50495 w 151820"/>
                <a:gd name="connsiteY35" fmla="*/ 27747 h 151820"/>
                <a:gd name="connsiteX36" fmla="*/ 31193 w 151820"/>
                <a:gd name="connsiteY36" fmla="*/ 14379 h 151820"/>
                <a:gd name="connsiteX37" fmla="*/ 27670 w 151820"/>
                <a:gd name="connsiteY37" fmla="*/ 17462 h 151820"/>
                <a:gd name="connsiteX38" fmla="*/ 24146 w 151820"/>
                <a:gd name="connsiteY38" fmla="*/ 20545 h 151820"/>
                <a:gd name="connsiteX39" fmla="*/ 20623 w 151820"/>
                <a:gd name="connsiteY39" fmla="*/ 23654 h 151820"/>
                <a:gd name="connsiteX40" fmla="*/ 31323 w 151820"/>
                <a:gd name="connsiteY40" fmla="*/ 44510 h 151820"/>
                <a:gd name="connsiteX41" fmla="*/ 23939 w 151820"/>
                <a:gd name="connsiteY41" fmla="*/ 59666 h 151820"/>
                <a:gd name="connsiteX42" fmla="*/ 855 w 151820"/>
                <a:gd name="connsiteY42" fmla="*/ 63837 h 151820"/>
                <a:gd name="connsiteX43" fmla="*/ 622 w 151820"/>
                <a:gd name="connsiteY43" fmla="*/ 68604 h 151820"/>
                <a:gd name="connsiteX44" fmla="*/ 311 w 151820"/>
                <a:gd name="connsiteY44" fmla="*/ 73268 h 151820"/>
                <a:gd name="connsiteX45" fmla="*/ 0 w 151820"/>
                <a:gd name="connsiteY45" fmla="*/ 77957 h 151820"/>
                <a:gd name="connsiteX46" fmla="*/ 22359 w 151820"/>
                <a:gd name="connsiteY46" fmla="*/ 85160 h 151820"/>
                <a:gd name="connsiteX47" fmla="*/ 27799 w 151820"/>
                <a:gd name="connsiteY47" fmla="*/ 101067 h 15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51820" h="151820">
                  <a:moveTo>
                    <a:pt x="14301" y="120420"/>
                  </a:moveTo>
                  <a:lnTo>
                    <a:pt x="17384" y="123944"/>
                  </a:lnTo>
                  <a:lnTo>
                    <a:pt x="20467" y="127467"/>
                  </a:lnTo>
                  <a:lnTo>
                    <a:pt x="23576" y="130991"/>
                  </a:lnTo>
                  <a:lnTo>
                    <a:pt x="44665" y="120161"/>
                  </a:lnTo>
                  <a:cubicBezTo>
                    <a:pt x="49249" y="123393"/>
                    <a:pt x="54311" y="125884"/>
                    <a:pt x="59666" y="127545"/>
                  </a:cubicBezTo>
                  <a:lnTo>
                    <a:pt x="63889" y="150862"/>
                  </a:lnTo>
                  <a:lnTo>
                    <a:pt x="68553" y="151173"/>
                  </a:lnTo>
                  <a:lnTo>
                    <a:pt x="73164" y="151510"/>
                  </a:lnTo>
                  <a:lnTo>
                    <a:pt x="77828" y="151821"/>
                  </a:lnTo>
                  <a:lnTo>
                    <a:pt x="85082" y="129307"/>
                  </a:lnTo>
                  <a:cubicBezTo>
                    <a:pt x="90582" y="128360"/>
                    <a:pt x="95898" y="126550"/>
                    <a:pt x="100834" y="123944"/>
                  </a:cubicBezTo>
                  <a:lnTo>
                    <a:pt x="120291" y="137442"/>
                  </a:lnTo>
                  <a:lnTo>
                    <a:pt x="123814" y="134333"/>
                  </a:lnTo>
                  <a:lnTo>
                    <a:pt x="127364" y="131250"/>
                  </a:lnTo>
                  <a:lnTo>
                    <a:pt x="130861" y="128193"/>
                  </a:lnTo>
                  <a:lnTo>
                    <a:pt x="120058" y="107130"/>
                  </a:lnTo>
                  <a:cubicBezTo>
                    <a:pt x="123330" y="102534"/>
                    <a:pt x="125866" y="97455"/>
                    <a:pt x="127571" y="92077"/>
                  </a:cubicBezTo>
                  <a:lnTo>
                    <a:pt x="150888" y="87854"/>
                  </a:lnTo>
                  <a:lnTo>
                    <a:pt x="151199" y="83165"/>
                  </a:lnTo>
                  <a:lnTo>
                    <a:pt x="151510" y="78501"/>
                  </a:lnTo>
                  <a:lnTo>
                    <a:pt x="151821" y="73838"/>
                  </a:lnTo>
                  <a:lnTo>
                    <a:pt x="129333" y="66584"/>
                  </a:lnTo>
                  <a:cubicBezTo>
                    <a:pt x="128395" y="61051"/>
                    <a:pt x="126594" y="55701"/>
                    <a:pt x="123996" y="50728"/>
                  </a:cubicBezTo>
                  <a:lnTo>
                    <a:pt x="137442" y="31349"/>
                  </a:lnTo>
                  <a:lnTo>
                    <a:pt x="134333" y="27825"/>
                  </a:lnTo>
                  <a:lnTo>
                    <a:pt x="131250" y="24302"/>
                  </a:lnTo>
                  <a:lnTo>
                    <a:pt x="128167" y="20778"/>
                  </a:lnTo>
                  <a:lnTo>
                    <a:pt x="107233" y="31530"/>
                  </a:lnTo>
                  <a:cubicBezTo>
                    <a:pt x="102632" y="28256"/>
                    <a:pt x="97544" y="25729"/>
                    <a:pt x="92155" y="24043"/>
                  </a:cubicBezTo>
                  <a:lnTo>
                    <a:pt x="87958" y="907"/>
                  </a:lnTo>
                  <a:lnTo>
                    <a:pt x="83294" y="622"/>
                  </a:lnTo>
                  <a:lnTo>
                    <a:pt x="78346" y="285"/>
                  </a:lnTo>
                  <a:lnTo>
                    <a:pt x="73682" y="0"/>
                  </a:lnTo>
                  <a:lnTo>
                    <a:pt x="66480" y="22333"/>
                  </a:lnTo>
                  <a:cubicBezTo>
                    <a:pt x="60899" y="23281"/>
                    <a:pt x="55503" y="25108"/>
                    <a:pt x="50495" y="27747"/>
                  </a:cubicBezTo>
                  <a:lnTo>
                    <a:pt x="31193" y="14379"/>
                  </a:lnTo>
                  <a:lnTo>
                    <a:pt x="27670" y="17462"/>
                  </a:lnTo>
                  <a:lnTo>
                    <a:pt x="24146" y="20545"/>
                  </a:lnTo>
                  <a:lnTo>
                    <a:pt x="20623" y="23654"/>
                  </a:lnTo>
                  <a:lnTo>
                    <a:pt x="31323" y="44510"/>
                  </a:lnTo>
                  <a:cubicBezTo>
                    <a:pt x="28082" y="49144"/>
                    <a:pt x="25592" y="54258"/>
                    <a:pt x="23939" y="59666"/>
                  </a:cubicBezTo>
                  <a:lnTo>
                    <a:pt x="855" y="63837"/>
                  </a:lnTo>
                  <a:lnTo>
                    <a:pt x="622" y="68604"/>
                  </a:lnTo>
                  <a:lnTo>
                    <a:pt x="311" y="73268"/>
                  </a:lnTo>
                  <a:lnTo>
                    <a:pt x="0" y="77957"/>
                  </a:lnTo>
                  <a:lnTo>
                    <a:pt x="22359" y="85160"/>
                  </a:lnTo>
                  <a:cubicBezTo>
                    <a:pt x="23328" y="90714"/>
                    <a:pt x="25164" y="96082"/>
                    <a:pt x="27799" y="101067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6046BD7-94DA-F643-B7E2-4A5198E3A670}"/>
                </a:ext>
              </a:extLst>
            </p:cNvPr>
            <p:cNvSpPr/>
            <p:nvPr/>
          </p:nvSpPr>
          <p:spPr>
            <a:xfrm>
              <a:off x="8949154" y="2841712"/>
              <a:ext cx="155813" cy="155814"/>
            </a:xfrm>
            <a:custGeom>
              <a:avLst/>
              <a:gdLst>
                <a:gd name="connsiteX0" fmla="*/ 60469 w 60469"/>
                <a:gd name="connsiteY0" fmla="*/ 30235 h 60469"/>
                <a:gd name="connsiteX1" fmla="*/ 30235 w 60469"/>
                <a:gd name="connsiteY1" fmla="*/ 60469 h 60469"/>
                <a:gd name="connsiteX2" fmla="*/ 0 w 60469"/>
                <a:gd name="connsiteY2" fmla="*/ 30235 h 60469"/>
                <a:gd name="connsiteX3" fmla="*/ 30235 w 60469"/>
                <a:gd name="connsiteY3" fmla="*/ 0 h 60469"/>
                <a:gd name="connsiteX4" fmla="*/ 60469 w 60469"/>
                <a:gd name="connsiteY4" fmla="*/ 30235 h 60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69" h="60469">
                  <a:moveTo>
                    <a:pt x="60469" y="30235"/>
                  </a:moveTo>
                  <a:cubicBezTo>
                    <a:pt x="60469" y="46933"/>
                    <a:pt x="46933" y="60469"/>
                    <a:pt x="30235" y="60469"/>
                  </a:cubicBezTo>
                  <a:cubicBezTo>
                    <a:pt x="13537" y="60469"/>
                    <a:pt x="0" y="46933"/>
                    <a:pt x="0" y="30235"/>
                  </a:cubicBezTo>
                  <a:cubicBezTo>
                    <a:pt x="0" y="13537"/>
                    <a:pt x="13537" y="0"/>
                    <a:pt x="30235" y="0"/>
                  </a:cubicBezTo>
                  <a:cubicBezTo>
                    <a:pt x="46933" y="0"/>
                    <a:pt x="60469" y="13537"/>
                    <a:pt x="60469" y="3023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E2D61"/>
                  </a:gs>
                  <a:gs pos="50000">
                    <a:srgbClr val="AE367B"/>
                  </a:gs>
                  <a:gs pos="100000">
                    <a:srgbClr val="7F5CF2"/>
                  </a:gs>
                </a:gsLst>
                <a:lin ang="5400000" scaled="1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0065F1F-FDD7-1F76-4B98-43C2E24D455C}"/>
                </a:ext>
              </a:extLst>
            </p:cNvPr>
            <p:cNvSpPr/>
            <p:nvPr/>
          </p:nvSpPr>
          <p:spPr>
            <a:xfrm>
              <a:off x="8623840" y="3124825"/>
              <a:ext cx="814246" cy="212859"/>
            </a:xfrm>
            <a:custGeom>
              <a:avLst/>
              <a:gdLst>
                <a:gd name="connsiteX0" fmla="*/ 39147 w 315999"/>
                <a:gd name="connsiteY0" fmla="*/ 54 h 82608"/>
                <a:gd name="connsiteX1" fmla="*/ 76273 w 315999"/>
                <a:gd name="connsiteY1" fmla="*/ 23164 h 82608"/>
                <a:gd name="connsiteX2" fmla="*/ 239804 w 315999"/>
                <a:gd name="connsiteY2" fmla="*/ 23164 h 82608"/>
                <a:gd name="connsiteX3" fmla="*/ 295087 w 315999"/>
                <a:gd name="connsiteY3" fmla="*/ 4217 h 82608"/>
                <a:gd name="connsiteX4" fmla="*/ 316000 w 315999"/>
                <a:gd name="connsiteY4" fmla="*/ 27905 h 82608"/>
                <a:gd name="connsiteX5" fmla="*/ 282319 w 315999"/>
                <a:gd name="connsiteY5" fmla="*/ 27905 h 82608"/>
                <a:gd name="connsiteX6" fmla="*/ 282319 w 315999"/>
                <a:gd name="connsiteY6" fmla="*/ 54694 h 82608"/>
                <a:gd name="connsiteX7" fmla="*/ 316000 w 315999"/>
                <a:gd name="connsiteY7" fmla="*/ 54694 h 82608"/>
                <a:gd name="connsiteX8" fmla="*/ 263176 w 315999"/>
                <a:gd name="connsiteY8" fmla="*/ 80115 h 82608"/>
                <a:gd name="connsiteX9" fmla="*/ 239779 w 315999"/>
                <a:gd name="connsiteY9" fmla="*/ 59487 h 82608"/>
                <a:gd name="connsiteX10" fmla="*/ 76144 w 315999"/>
                <a:gd name="connsiteY10" fmla="*/ 59487 h 82608"/>
                <a:gd name="connsiteX11" fmla="*/ 20881 w 315999"/>
                <a:gd name="connsiteY11" fmla="*/ 78379 h 82608"/>
                <a:gd name="connsiteX12" fmla="*/ 0 w 315999"/>
                <a:gd name="connsiteY12" fmla="*/ 54694 h 82608"/>
                <a:gd name="connsiteX13" fmla="*/ 33680 w 315999"/>
                <a:gd name="connsiteY13" fmla="*/ 54694 h 82608"/>
                <a:gd name="connsiteX14" fmla="*/ 33680 w 315999"/>
                <a:gd name="connsiteY14" fmla="*/ 27983 h 82608"/>
                <a:gd name="connsiteX15" fmla="*/ 0 w 315999"/>
                <a:gd name="connsiteY15" fmla="*/ 27983 h 82608"/>
                <a:gd name="connsiteX16" fmla="*/ 39147 w 315999"/>
                <a:gd name="connsiteY16" fmla="*/ 54 h 8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5999" h="82608">
                  <a:moveTo>
                    <a:pt x="39147" y="54"/>
                  </a:moveTo>
                  <a:cubicBezTo>
                    <a:pt x="54922" y="29"/>
                    <a:pt x="69331" y="8998"/>
                    <a:pt x="76273" y="23164"/>
                  </a:cubicBezTo>
                  <a:lnTo>
                    <a:pt x="239804" y="23164"/>
                  </a:lnTo>
                  <a:cubicBezTo>
                    <a:pt x="249839" y="2666"/>
                    <a:pt x="274591" y="-5816"/>
                    <a:pt x="295087" y="4217"/>
                  </a:cubicBezTo>
                  <a:cubicBezTo>
                    <a:pt x="304922" y="9031"/>
                    <a:pt x="312443" y="17552"/>
                    <a:pt x="316000" y="27905"/>
                  </a:cubicBezTo>
                  <a:lnTo>
                    <a:pt x="282319" y="27905"/>
                  </a:lnTo>
                  <a:lnTo>
                    <a:pt x="282319" y="54694"/>
                  </a:lnTo>
                  <a:lnTo>
                    <a:pt x="316000" y="54694"/>
                  </a:lnTo>
                  <a:cubicBezTo>
                    <a:pt x="308432" y="76301"/>
                    <a:pt x="284783" y="87683"/>
                    <a:pt x="263176" y="80115"/>
                  </a:cubicBezTo>
                  <a:cubicBezTo>
                    <a:pt x="252989" y="76547"/>
                    <a:pt x="244595" y="69148"/>
                    <a:pt x="239779" y="59487"/>
                  </a:cubicBezTo>
                  <a:lnTo>
                    <a:pt x="76144" y="59487"/>
                  </a:lnTo>
                  <a:cubicBezTo>
                    <a:pt x="66100" y="79965"/>
                    <a:pt x="41358" y="88424"/>
                    <a:pt x="20881" y="78379"/>
                  </a:cubicBezTo>
                  <a:cubicBezTo>
                    <a:pt x="11058" y="73563"/>
                    <a:pt x="3548" y="65044"/>
                    <a:pt x="0" y="54694"/>
                  </a:cubicBezTo>
                  <a:lnTo>
                    <a:pt x="33680" y="54694"/>
                  </a:lnTo>
                  <a:lnTo>
                    <a:pt x="33680" y="27983"/>
                  </a:lnTo>
                  <a:lnTo>
                    <a:pt x="0" y="27983"/>
                  </a:lnTo>
                  <a:cubicBezTo>
                    <a:pt x="5704" y="11239"/>
                    <a:pt x="21457" y="-1"/>
                    <a:pt x="39147" y="54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F159107-5DB4-5A0E-57F1-705922D79F57}"/>
                </a:ext>
              </a:extLst>
            </p:cNvPr>
            <p:cNvSpPr/>
            <p:nvPr/>
          </p:nvSpPr>
          <p:spPr>
            <a:xfrm>
              <a:off x="8516826" y="3192993"/>
              <a:ext cx="67023" cy="67023"/>
            </a:xfrm>
            <a:custGeom>
              <a:avLst/>
              <a:gdLst>
                <a:gd name="connsiteX0" fmla="*/ 26012 w 26011"/>
                <a:gd name="connsiteY0" fmla="*/ 13006 h 26011"/>
                <a:gd name="connsiteX1" fmla="*/ 13006 w 26011"/>
                <a:gd name="connsiteY1" fmla="*/ 26012 h 26011"/>
                <a:gd name="connsiteX2" fmla="*/ 0 w 26011"/>
                <a:gd name="connsiteY2" fmla="*/ 13006 h 26011"/>
                <a:gd name="connsiteX3" fmla="*/ 13006 w 26011"/>
                <a:gd name="connsiteY3" fmla="*/ 0 h 26011"/>
                <a:gd name="connsiteX4" fmla="*/ 26012 w 26011"/>
                <a:gd name="connsiteY4" fmla="*/ 13006 h 26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11" h="26011">
                  <a:moveTo>
                    <a:pt x="26012" y="13006"/>
                  </a:moveTo>
                  <a:cubicBezTo>
                    <a:pt x="26012" y="20189"/>
                    <a:pt x="20189" y="26012"/>
                    <a:pt x="13006" y="26012"/>
                  </a:cubicBezTo>
                  <a:cubicBezTo>
                    <a:pt x="5823" y="26012"/>
                    <a:pt x="0" y="20189"/>
                    <a:pt x="0" y="13006"/>
                  </a:cubicBezTo>
                  <a:cubicBezTo>
                    <a:pt x="0" y="5823"/>
                    <a:pt x="5823" y="0"/>
                    <a:pt x="13006" y="0"/>
                  </a:cubicBezTo>
                  <a:cubicBezTo>
                    <a:pt x="20189" y="0"/>
                    <a:pt x="26012" y="5823"/>
                    <a:pt x="26012" y="13006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80E2CCB-C0B6-CEED-5C59-ABF318F421D9}"/>
                </a:ext>
              </a:extLst>
            </p:cNvPr>
            <p:cNvSpPr/>
            <p:nvPr/>
          </p:nvSpPr>
          <p:spPr>
            <a:xfrm>
              <a:off x="9003158" y="2895718"/>
              <a:ext cx="47799" cy="47799"/>
            </a:xfrm>
            <a:custGeom>
              <a:avLst/>
              <a:gdLst>
                <a:gd name="connsiteX0" fmla="*/ 18550 w 18550"/>
                <a:gd name="connsiteY0" fmla="*/ 9275 h 18550"/>
                <a:gd name="connsiteX1" fmla="*/ 9275 w 18550"/>
                <a:gd name="connsiteY1" fmla="*/ 18550 h 18550"/>
                <a:gd name="connsiteX2" fmla="*/ 0 w 18550"/>
                <a:gd name="connsiteY2" fmla="*/ 9275 h 18550"/>
                <a:gd name="connsiteX3" fmla="*/ 9275 w 18550"/>
                <a:gd name="connsiteY3" fmla="*/ 0 h 18550"/>
                <a:gd name="connsiteX4" fmla="*/ 18550 w 18550"/>
                <a:gd name="connsiteY4" fmla="*/ 9275 h 1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0" h="18550">
                  <a:moveTo>
                    <a:pt x="18550" y="9275"/>
                  </a:moveTo>
                  <a:cubicBezTo>
                    <a:pt x="18550" y="14398"/>
                    <a:pt x="14398" y="18550"/>
                    <a:pt x="9275" y="18550"/>
                  </a:cubicBezTo>
                  <a:cubicBezTo>
                    <a:pt x="4153" y="18550"/>
                    <a:pt x="0" y="14398"/>
                    <a:pt x="0" y="9275"/>
                  </a:cubicBezTo>
                  <a:cubicBezTo>
                    <a:pt x="0" y="4153"/>
                    <a:pt x="4153" y="0"/>
                    <a:pt x="9275" y="0"/>
                  </a:cubicBezTo>
                  <a:cubicBezTo>
                    <a:pt x="14398" y="0"/>
                    <a:pt x="18550" y="4153"/>
                    <a:pt x="18550" y="9275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7C46DFB2-963D-B77B-F8A7-BA506B40BADA}"/>
              </a:ext>
            </a:extLst>
          </p:cNvPr>
          <p:cNvGrpSpPr/>
          <p:nvPr/>
        </p:nvGrpSpPr>
        <p:grpSpPr>
          <a:xfrm>
            <a:off x="609600" y="1965732"/>
            <a:ext cx="762000" cy="762000"/>
            <a:chOff x="609600" y="2906573"/>
            <a:chExt cx="640080" cy="640080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717E1BB-386D-3066-EBBF-7E3429CDF2B5}"/>
                </a:ext>
              </a:extLst>
            </p:cNvPr>
            <p:cNvSpPr/>
            <p:nvPr/>
          </p:nvSpPr>
          <p:spPr>
            <a:xfrm>
              <a:off x="615548" y="3279256"/>
              <a:ext cx="103817" cy="178361"/>
            </a:xfrm>
            <a:custGeom>
              <a:avLst/>
              <a:gdLst>
                <a:gd name="connsiteX0" fmla="*/ 0 w 107043"/>
                <a:gd name="connsiteY0" fmla="*/ 0 h 188648"/>
                <a:gd name="connsiteX1" fmla="*/ 107044 w 107043"/>
                <a:gd name="connsiteY1" fmla="*/ 188649 h 18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043" h="188648">
                  <a:moveTo>
                    <a:pt x="0" y="0"/>
                  </a:moveTo>
                  <a:cubicBezTo>
                    <a:pt x="10493" y="59297"/>
                    <a:pt x="38003" y="134201"/>
                    <a:pt x="107044" y="188649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5935E08-7F93-2B84-834B-E12B90B8FD17}"/>
                </a:ext>
              </a:extLst>
            </p:cNvPr>
            <p:cNvSpPr/>
            <p:nvPr/>
          </p:nvSpPr>
          <p:spPr>
            <a:xfrm>
              <a:off x="609600" y="2942707"/>
              <a:ext cx="174202" cy="295949"/>
            </a:xfrm>
            <a:custGeom>
              <a:avLst/>
              <a:gdLst>
                <a:gd name="connsiteX0" fmla="*/ 179615 w 179615"/>
                <a:gd name="connsiteY0" fmla="*/ 0 h 313018"/>
                <a:gd name="connsiteX1" fmla="*/ 163920 w 179615"/>
                <a:gd name="connsiteY1" fmla="*/ 8817 h 313018"/>
                <a:gd name="connsiteX2" fmla="*/ 1239 w 179615"/>
                <a:gd name="connsiteY2" fmla="*/ 260114 h 313018"/>
                <a:gd name="connsiteX3" fmla="*/ 930 w 179615"/>
                <a:gd name="connsiteY3" fmla="*/ 313019 h 313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615" h="313018">
                  <a:moveTo>
                    <a:pt x="179615" y="0"/>
                  </a:moveTo>
                  <a:cubicBezTo>
                    <a:pt x="174413" y="2733"/>
                    <a:pt x="169167" y="5599"/>
                    <a:pt x="163920" y="8817"/>
                  </a:cubicBezTo>
                  <a:cubicBezTo>
                    <a:pt x="94483" y="48981"/>
                    <a:pt x="13671" y="138698"/>
                    <a:pt x="1239" y="260114"/>
                  </a:cubicBezTo>
                  <a:cubicBezTo>
                    <a:pt x="-303" y="277711"/>
                    <a:pt x="-406" y="295406"/>
                    <a:pt x="930" y="313019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D381299-A209-EFB6-ACA7-DA975D60A55B}"/>
                </a:ext>
              </a:extLst>
            </p:cNvPr>
            <p:cNvSpPr/>
            <p:nvPr/>
          </p:nvSpPr>
          <p:spPr>
            <a:xfrm>
              <a:off x="821088" y="2906573"/>
              <a:ext cx="371443" cy="134797"/>
            </a:xfrm>
            <a:custGeom>
              <a:avLst/>
              <a:gdLst>
                <a:gd name="connsiteX0" fmla="*/ 382985 w 382985"/>
                <a:gd name="connsiteY0" fmla="*/ 142572 h 142572"/>
                <a:gd name="connsiteX1" fmla="*/ 0 w 382985"/>
                <a:gd name="connsiteY1" fmla="*/ 21024 h 14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2985" h="142572">
                  <a:moveTo>
                    <a:pt x="382985" y="142572"/>
                  </a:moveTo>
                  <a:cubicBezTo>
                    <a:pt x="326377" y="54178"/>
                    <a:pt x="171631" y="-43872"/>
                    <a:pt x="0" y="21024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C0D0C6F-538D-87B1-A0B6-F43A23A26ADD}"/>
                </a:ext>
              </a:extLst>
            </p:cNvPr>
            <p:cNvSpPr/>
            <p:nvPr/>
          </p:nvSpPr>
          <p:spPr>
            <a:xfrm>
              <a:off x="1147206" y="2998354"/>
              <a:ext cx="57467" cy="50728"/>
            </a:xfrm>
            <a:custGeom>
              <a:avLst/>
              <a:gdLst>
                <a:gd name="connsiteX0" fmla="*/ 59253 w 59253"/>
                <a:gd name="connsiteY0" fmla="*/ 1234 h 53654"/>
                <a:gd name="connsiteX1" fmla="*/ 50524 w 59253"/>
                <a:gd name="connsiteY1" fmla="*/ 0 h 53654"/>
                <a:gd name="connsiteX2" fmla="*/ 44352 w 59253"/>
                <a:gd name="connsiteY2" fmla="*/ 43029 h 53654"/>
                <a:gd name="connsiteX3" fmla="*/ 1852 w 59253"/>
                <a:gd name="connsiteY3" fmla="*/ 33683 h 53654"/>
                <a:gd name="connsiteX4" fmla="*/ 0 w 59253"/>
                <a:gd name="connsiteY4" fmla="*/ 42324 h 53654"/>
                <a:gd name="connsiteX5" fmla="*/ 51714 w 59253"/>
                <a:gd name="connsiteY5" fmla="*/ 53654 h 53654"/>
                <a:gd name="connsiteX6" fmla="*/ 59253 w 59253"/>
                <a:gd name="connsiteY6" fmla="*/ 1234 h 5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253" h="53654">
                  <a:moveTo>
                    <a:pt x="59253" y="1234"/>
                  </a:moveTo>
                  <a:lnTo>
                    <a:pt x="50524" y="0"/>
                  </a:lnTo>
                  <a:lnTo>
                    <a:pt x="44352" y="43029"/>
                  </a:lnTo>
                  <a:lnTo>
                    <a:pt x="1852" y="33683"/>
                  </a:lnTo>
                  <a:lnTo>
                    <a:pt x="0" y="42324"/>
                  </a:lnTo>
                  <a:lnTo>
                    <a:pt x="51714" y="53654"/>
                  </a:lnTo>
                  <a:lnTo>
                    <a:pt x="59253" y="1234"/>
                  </a:lnTo>
                  <a:close/>
                </a:path>
              </a:pathLst>
            </a:custGeom>
            <a:solidFill>
              <a:schemeClr val="tx1"/>
            </a:solidFill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D562AF4-6FD0-0906-FB92-BEDBEACA7585}"/>
                </a:ext>
              </a:extLst>
            </p:cNvPr>
            <p:cNvSpPr/>
            <p:nvPr/>
          </p:nvSpPr>
          <p:spPr>
            <a:xfrm>
              <a:off x="1235247" y="3128322"/>
              <a:ext cx="14433" cy="110210"/>
            </a:xfrm>
            <a:custGeom>
              <a:avLst/>
              <a:gdLst>
                <a:gd name="connsiteX0" fmla="*/ 14461 w 14882"/>
                <a:gd name="connsiteY0" fmla="*/ 116566 h 116566"/>
                <a:gd name="connsiteX1" fmla="*/ 0 w 14882"/>
                <a:gd name="connsiteY1" fmla="*/ 0 h 11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82" h="116566">
                  <a:moveTo>
                    <a:pt x="14461" y="116566"/>
                  </a:moveTo>
                  <a:cubicBezTo>
                    <a:pt x="16422" y="77167"/>
                    <a:pt x="11529" y="37726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4C137B6-C92C-649C-1A01-547D355F8638}"/>
                </a:ext>
              </a:extLst>
            </p:cNvPr>
            <p:cNvSpPr/>
            <p:nvPr/>
          </p:nvSpPr>
          <p:spPr>
            <a:xfrm>
              <a:off x="1224727" y="3264251"/>
              <a:ext cx="22062" cy="75987"/>
            </a:xfrm>
            <a:custGeom>
              <a:avLst/>
              <a:gdLst>
                <a:gd name="connsiteX0" fmla="*/ 0 w 22748"/>
                <a:gd name="connsiteY0" fmla="*/ 80371 h 80370"/>
                <a:gd name="connsiteX1" fmla="*/ 22749 w 22748"/>
                <a:gd name="connsiteY1" fmla="*/ 0 h 8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748" h="80370">
                  <a:moveTo>
                    <a:pt x="0" y="80371"/>
                  </a:moveTo>
                  <a:cubicBezTo>
                    <a:pt x="11097" y="54703"/>
                    <a:pt x="18746" y="27678"/>
                    <a:pt x="22749" y="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D9BAE43-AA41-6DBF-4BCC-18B7E084B025}"/>
                </a:ext>
              </a:extLst>
            </p:cNvPr>
            <p:cNvSpPr/>
            <p:nvPr/>
          </p:nvSpPr>
          <p:spPr>
            <a:xfrm>
              <a:off x="794877" y="3368458"/>
              <a:ext cx="415526" cy="165738"/>
            </a:xfrm>
            <a:custGeom>
              <a:avLst/>
              <a:gdLst>
                <a:gd name="connsiteX0" fmla="*/ 0 w 428438"/>
                <a:gd name="connsiteY0" fmla="*/ 143945 h 175297"/>
                <a:gd name="connsiteX1" fmla="*/ 304686 w 428438"/>
                <a:gd name="connsiteY1" fmla="*/ 128470 h 175297"/>
                <a:gd name="connsiteX2" fmla="*/ 428439 w 428438"/>
                <a:gd name="connsiteY2" fmla="*/ 0 h 1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438" h="175297">
                  <a:moveTo>
                    <a:pt x="0" y="143945"/>
                  </a:moveTo>
                  <a:cubicBezTo>
                    <a:pt x="83766" y="183138"/>
                    <a:pt x="192396" y="193454"/>
                    <a:pt x="304686" y="128470"/>
                  </a:cubicBezTo>
                  <a:cubicBezTo>
                    <a:pt x="356520" y="97278"/>
                    <a:pt x="399205" y="52962"/>
                    <a:pt x="428439" y="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9FC6424-29EF-45AA-489D-F34AB8169C80}"/>
                </a:ext>
              </a:extLst>
            </p:cNvPr>
            <p:cNvSpPr/>
            <p:nvPr/>
          </p:nvSpPr>
          <p:spPr>
            <a:xfrm>
              <a:off x="786539" y="3484296"/>
              <a:ext cx="51352" cy="62357"/>
            </a:xfrm>
            <a:custGeom>
              <a:avLst/>
              <a:gdLst>
                <a:gd name="connsiteX0" fmla="*/ 20853 w 52948"/>
                <a:gd name="connsiteY0" fmla="*/ 65954 h 65954"/>
                <a:gd name="connsiteX1" fmla="*/ 28965 w 52948"/>
                <a:gd name="connsiteY1" fmla="*/ 62471 h 65954"/>
                <a:gd name="connsiteX2" fmla="*/ 11815 w 52948"/>
                <a:gd name="connsiteY2" fmla="*/ 22529 h 65954"/>
                <a:gd name="connsiteX3" fmla="*/ 52949 w 52948"/>
                <a:gd name="connsiteY3" fmla="*/ 8332 h 65954"/>
                <a:gd name="connsiteX4" fmla="*/ 50039 w 52948"/>
                <a:gd name="connsiteY4" fmla="*/ 0 h 65954"/>
                <a:gd name="connsiteX5" fmla="*/ 0 w 52948"/>
                <a:gd name="connsiteY5" fmla="*/ 17282 h 65954"/>
                <a:gd name="connsiteX6" fmla="*/ 20853 w 52948"/>
                <a:gd name="connsiteY6" fmla="*/ 65954 h 6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48" h="65954">
                  <a:moveTo>
                    <a:pt x="20853" y="65954"/>
                  </a:moveTo>
                  <a:lnTo>
                    <a:pt x="28965" y="62471"/>
                  </a:lnTo>
                  <a:lnTo>
                    <a:pt x="11815" y="22529"/>
                  </a:lnTo>
                  <a:lnTo>
                    <a:pt x="52949" y="8332"/>
                  </a:lnTo>
                  <a:lnTo>
                    <a:pt x="50039" y="0"/>
                  </a:lnTo>
                  <a:lnTo>
                    <a:pt x="0" y="17282"/>
                  </a:lnTo>
                  <a:lnTo>
                    <a:pt x="20853" y="65954"/>
                  </a:lnTo>
                  <a:close/>
                </a:path>
              </a:pathLst>
            </a:custGeom>
            <a:solidFill>
              <a:schemeClr val="tx1"/>
            </a:solidFill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9D44331B-117A-078A-68C1-EADD8971E2D5}"/>
                </a:ext>
              </a:extLst>
            </p:cNvPr>
            <p:cNvGrpSpPr/>
            <p:nvPr/>
          </p:nvGrpSpPr>
          <p:grpSpPr>
            <a:xfrm>
              <a:off x="767790" y="3031856"/>
              <a:ext cx="356400" cy="370950"/>
              <a:chOff x="1790732" y="2793197"/>
              <a:chExt cx="528252" cy="549818"/>
            </a:xfrm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6C06EDB5-B5DE-F7A5-BA20-B7F7ADC6B9A9}"/>
                  </a:ext>
                </a:extLst>
              </p:cNvPr>
              <p:cNvSpPr/>
              <p:nvPr/>
            </p:nvSpPr>
            <p:spPr>
              <a:xfrm>
                <a:off x="1790732" y="2793197"/>
                <a:ext cx="402427" cy="549818"/>
              </a:xfrm>
              <a:custGeom>
                <a:avLst/>
                <a:gdLst>
                  <a:gd name="connsiteX0" fmla="*/ 401766 w 402427"/>
                  <a:gd name="connsiteY0" fmla="*/ 93553 h 549818"/>
                  <a:gd name="connsiteX1" fmla="*/ 401766 w 402427"/>
                  <a:gd name="connsiteY1" fmla="*/ 63970 h 549818"/>
                  <a:gd name="connsiteX2" fmla="*/ 388518 w 402427"/>
                  <a:gd name="connsiteY2" fmla="*/ 50767 h 549818"/>
                  <a:gd name="connsiteX3" fmla="*/ 385807 w 402427"/>
                  <a:gd name="connsiteY3" fmla="*/ 51053 h 549818"/>
                  <a:gd name="connsiteX4" fmla="*/ 211222 w 402427"/>
                  <a:gd name="connsiteY4" fmla="*/ 4276 h 549818"/>
                  <a:gd name="connsiteX5" fmla="*/ 192533 w 402427"/>
                  <a:gd name="connsiteY5" fmla="*/ 3488 h 549818"/>
                  <a:gd name="connsiteX6" fmla="*/ 191470 w 402427"/>
                  <a:gd name="connsiteY6" fmla="*/ 4585 h 549818"/>
                  <a:gd name="connsiteX7" fmla="*/ 15960 w 402427"/>
                  <a:gd name="connsiteY7" fmla="*/ 50568 h 549818"/>
                  <a:gd name="connsiteX8" fmla="*/ 286 w 402427"/>
                  <a:gd name="connsiteY8" fmla="*/ 60775 h 549818"/>
                  <a:gd name="connsiteX9" fmla="*/ 0 w 402427"/>
                  <a:gd name="connsiteY9" fmla="*/ 63529 h 549818"/>
                  <a:gd name="connsiteX10" fmla="*/ 0 w 402427"/>
                  <a:gd name="connsiteY10" fmla="*/ 431304 h 549818"/>
                  <a:gd name="connsiteX11" fmla="*/ 6745 w 402427"/>
                  <a:gd name="connsiteY11" fmla="*/ 442811 h 549818"/>
                  <a:gd name="connsiteX12" fmla="*/ 194424 w 402427"/>
                  <a:gd name="connsiteY12" fmla="*/ 548135 h 549818"/>
                  <a:gd name="connsiteX13" fmla="*/ 207342 w 402427"/>
                  <a:gd name="connsiteY13" fmla="*/ 548135 h 549818"/>
                  <a:gd name="connsiteX14" fmla="*/ 395153 w 402427"/>
                  <a:gd name="connsiteY14" fmla="*/ 442899 h 549818"/>
                  <a:gd name="connsiteX15" fmla="*/ 401943 w 402427"/>
                  <a:gd name="connsiteY15" fmla="*/ 431657 h 549818"/>
                  <a:gd name="connsiteX16" fmla="*/ 402428 w 402427"/>
                  <a:gd name="connsiteY16" fmla="*/ 402339 h 549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2427" h="549818">
                    <a:moveTo>
                      <a:pt x="401766" y="93553"/>
                    </a:moveTo>
                    <a:lnTo>
                      <a:pt x="401766" y="63970"/>
                    </a:lnTo>
                    <a:cubicBezTo>
                      <a:pt x="401753" y="56665"/>
                      <a:pt x="395823" y="50754"/>
                      <a:pt x="388518" y="50767"/>
                    </a:cubicBezTo>
                    <a:cubicBezTo>
                      <a:pt x="387605" y="50769"/>
                      <a:pt x="386697" y="50864"/>
                      <a:pt x="385807" y="51053"/>
                    </a:cubicBezTo>
                    <a:cubicBezTo>
                      <a:pt x="351198" y="58371"/>
                      <a:pt x="267741" y="67585"/>
                      <a:pt x="211222" y="4276"/>
                    </a:cubicBezTo>
                    <a:cubicBezTo>
                      <a:pt x="206279" y="-1102"/>
                      <a:pt x="197912" y="-1455"/>
                      <a:pt x="192533" y="3488"/>
                    </a:cubicBezTo>
                    <a:cubicBezTo>
                      <a:pt x="192158" y="3833"/>
                      <a:pt x="191803" y="4199"/>
                      <a:pt x="191470" y="4585"/>
                    </a:cubicBezTo>
                    <a:cubicBezTo>
                      <a:pt x="171543" y="27554"/>
                      <a:pt x="118639" y="71201"/>
                      <a:pt x="15960" y="50568"/>
                    </a:cubicBezTo>
                    <a:cubicBezTo>
                      <a:pt x="8813" y="49058"/>
                      <a:pt x="1795" y="53628"/>
                      <a:pt x="286" y="60775"/>
                    </a:cubicBezTo>
                    <a:cubicBezTo>
                      <a:pt x="94" y="61680"/>
                      <a:pt x="-1" y="62604"/>
                      <a:pt x="0" y="63529"/>
                    </a:cubicBezTo>
                    <a:lnTo>
                      <a:pt x="0" y="431304"/>
                    </a:lnTo>
                    <a:cubicBezTo>
                      <a:pt x="8" y="436075"/>
                      <a:pt x="2586" y="440475"/>
                      <a:pt x="6745" y="442811"/>
                    </a:cubicBezTo>
                    <a:lnTo>
                      <a:pt x="194424" y="548135"/>
                    </a:lnTo>
                    <a:cubicBezTo>
                      <a:pt x="198438" y="550379"/>
                      <a:pt x="203329" y="550379"/>
                      <a:pt x="207342" y="548135"/>
                    </a:cubicBezTo>
                    <a:lnTo>
                      <a:pt x="395153" y="442899"/>
                    </a:lnTo>
                    <a:cubicBezTo>
                      <a:pt x="399249" y="440620"/>
                      <a:pt x="401832" y="436344"/>
                      <a:pt x="401943" y="431657"/>
                    </a:cubicBezTo>
                    <a:lnTo>
                      <a:pt x="402428" y="402339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F4D3623F-30B4-3460-1833-414EDA38D7CE}"/>
                  </a:ext>
                </a:extLst>
              </p:cNvPr>
              <p:cNvSpPr/>
              <p:nvPr/>
            </p:nvSpPr>
            <p:spPr>
              <a:xfrm>
                <a:off x="1794788" y="3073062"/>
                <a:ext cx="252487" cy="81693"/>
              </a:xfrm>
              <a:custGeom>
                <a:avLst/>
                <a:gdLst>
                  <a:gd name="connsiteX0" fmla="*/ 0 w 252487"/>
                  <a:gd name="connsiteY0" fmla="*/ 0 h 81693"/>
                  <a:gd name="connsiteX1" fmla="*/ 252487 w 252487"/>
                  <a:gd name="connsiteY1" fmla="*/ 81693 h 81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2487" h="81693">
                    <a:moveTo>
                      <a:pt x="0" y="0"/>
                    </a:moveTo>
                    <a:lnTo>
                      <a:pt x="252487" y="81693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2F117FEE-D4EE-233C-818F-D4864BC9E9FF}"/>
                  </a:ext>
                </a:extLst>
              </p:cNvPr>
              <p:cNvSpPr/>
              <p:nvPr/>
            </p:nvSpPr>
            <p:spPr>
              <a:xfrm>
                <a:off x="1793686" y="2923651"/>
                <a:ext cx="241906" cy="75300"/>
              </a:xfrm>
              <a:custGeom>
                <a:avLst/>
                <a:gdLst>
                  <a:gd name="connsiteX0" fmla="*/ 0 w 241906"/>
                  <a:gd name="connsiteY0" fmla="*/ 0 h 75300"/>
                  <a:gd name="connsiteX1" fmla="*/ 241906 w 241906"/>
                  <a:gd name="connsiteY1" fmla="*/ 75301 h 7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906" h="75300">
                    <a:moveTo>
                      <a:pt x="0" y="0"/>
                    </a:moveTo>
                    <a:lnTo>
                      <a:pt x="241906" y="75301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98722812-718C-FA85-0E5F-6C70ECA8A5EB}"/>
                  </a:ext>
                </a:extLst>
              </p:cNvPr>
              <p:cNvSpPr/>
              <p:nvPr/>
            </p:nvSpPr>
            <p:spPr>
              <a:xfrm>
                <a:off x="2067335" y="2910425"/>
                <a:ext cx="251649" cy="251649"/>
              </a:xfrm>
              <a:custGeom>
                <a:avLst/>
                <a:gdLst>
                  <a:gd name="connsiteX0" fmla="*/ 251649 w 251649"/>
                  <a:gd name="connsiteY0" fmla="*/ 125825 h 251649"/>
                  <a:gd name="connsiteX1" fmla="*/ 125825 w 251649"/>
                  <a:gd name="connsiteY1" fmla="*/ 251649 h 251649"/>
                  <a:gd name="connsiteX2" fmla="*/ 0 w 251649"/>
                  <a:gd name="connsiteY2" fmla="*/ 125825 h 251649"/>
                  <a:gd name="connsiteX3" fmla="*/ 125825 w 251649"/>
                  <a:gd name="connsiteY3" fmla="*/ 0 h 251649"/>
                  <a:gd name="connsiteX4" fmla="*/ 251649 w 251649"/>
                  <a:gd name="connsiteY4" fmla="*/ 125825 h 251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1649" h="251649">
                    <a:moveTo>
                      <a:pt x="251649" y="125825"/>
                    </a:moveTo>
                    <a:cubicBezTo>
                      <a:pt x="251649" y="195316"/>
                      <a:pt x="195316" y="251649"/>
                      <a:pt x="125825" y="251649"/>
                    </a:cubicBezTo>
                    <a:cubicBezTo>
                      <a:pt x="56334" y="251649"/>
                      <a:pt x="0" y="195316"/>
                      <a:pt x="0" y="125825"/>
                    </a:cubicBezTo>
                    <a:cubicBezTo>
                      <a:pt x="0" y="56334"/>
                      <a:pt x="56334" y="0"/>
                      <a:pt x="125825" y="0"/>
                    </a:cubicBezTo>
                    <a:cubicBezTo>
                      <a:pt x="195316" y="0"/>
                      <a:pt x="251649" y="56334"/>
                      <a:pt x="251649" y="125825"/>
                    </a:cubicBezTo>
                    <a:close/>
                  </a:path>
                </a:pathLst>
              </a:custGeom>
              <a:noFill/>
              <a:ln w="12700" cap="flat">
                <a:gradFill>
                  <a:gsLst>
                    <a:gs pos="0">
                      <a:srgbClr val="CE2D61"/>
                    </a:gs>
                    <a:gs pos="50000">
                      <a:srgbClr val="AE367B"/>
                    </a:gs>
                    <a:gs pos="100000">
                      <a:srgbClr val="7F5CF2"/>
                    </a:gs>
                  </a:gsLst>
                  <a:lin ang="5400000" scaled="1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7619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32F3E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B51CC197-351B-F9C8-8028-4BBD077E7FD8}"/>
                  </a:ext>
                </a:extLst>
              </p:cNvPr>
              <p:cNvSpPr/>
              <p:nvPr/>
            </p:nvSpPr>
            <p:spPr>
              <a:xfrm>
                <a:off x="2126367" y="2992338"/>
                <a:ext cx="131071" cy="93200"/>
              </a:xfrm>
              <a:custGeom>
                <a:avLst/>
                <a:gdLst>
                  <a:gd name="connsiteX0" fmla="*/ 0 w 131071"/>
                  <a:gd name="connsiteY0" fmla="*/ 55329 h 93200"/>
                  <a:gd name="connsiteX1" fmla="*/ 37871 w 131071"/>
                  <a:gd name="connsiteY1" fmla="*/ 93200 h 93200"/>
                  <a:gd name="connsiteX2" fmla="*/ 131071 w 131071"/>
                  <a:gd name="connsiteY2" fmla="*/ 0 h 9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071" h="93200">
                    <a:moveTo>
                      <a:pt x="0" y="55329"/>
                    </a:moveTo>
                    <a:lnTo>
                      <a:pt x="37871" y="93200"/>
                    </a:lnTo>
                    <a:lnTo>
                      <a:pt x="131071" y="0"/>
                    </a:lnTo>
                  </a:path>
                </a:pathLst>
              </a:custGeom>
              <a:noFill/>
              <a:ln w="12700" cap="flat">
                <a:gradFill>
                  <a:gsLst>
                    <a:gs pos="0">
                      <a:srgbClr val="CE2D61"/>
                    </a:gs>
                    <a:gs pos="50000">
                      <a:srgbClr val="AE367B"/>
                    </a:gs>
                    <a:gs pos="100000">
                      <a:srgbClr val="7F5CF2"/>
                    </a:gs>
                  </a:gsLst>
                  <a:lin ang="5400000" scaled="1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7619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32F3E"/>
                  </a:solidFill>
                  <a:effectLst/>
                  <a:uLnTx/>
                  <a:uFillTx/>
                  <a:latin typeface="Amazon Ember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AD19BDA-520E-425A-BB9E-182A4D8A7EBD}"/>
              </a:ext>
            </a:extLst>
          </p:cNvPr>
          <p:cNvGrpSpPr/>
          <p:nvPr/>
        </p:nvGrpSpPr>
        <p:grpSpPr>
          <a:xfrm>
            <a:off x="4459639" y="1983990"/>
            <a:ext cx="1287614" cy="911352"/>
            <a:chOff x="4407907" y="1965732"/>
            <a:chExt cx="1287614" cy="91135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0E9E8BD3-D145-4FE1-A418-B4F48E8B70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07907" y="1965732"/>
              <a:ext cx="1287614" cy="758952"/>
              <a:chOff x="5253396" y="2995008"/>
              <a:chExt cx="1522742" cy="897542"/>
            </a:xfrm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93FF773E-F45B-4023-8D9D-F3691BF87028}"/>
                  </a:ext>
                </a:extLst>
              </p:cNvPr>
              <p:cNvSpPr/>
              <p:nvPr/>
            </p:nvSpPr>
            <p:spPr>
              <a:xfrm>
                <a:off x="6542392" y="3448804"/>
                <a:ext cx="233746" cy="236255"/>
              </a:xfrm>
              <a:custGeom>
                <a:avLst/>
                <a:gdLst>
                  <a:gd name="connsiteX0" fmla="*/ 33506 w 110751"/>
                  <a:gd name="connsiteY0" fmla="*/ 0 h 111940"/>
                  <a:gd name="connsiteX1" fmla="*/ 104046 w 110751"/>
                  <a:gd name="connsiteY1" fmla="*/ 71024 h 111940"/>
                  <a:gd name="connsiteX2" fmla="*/ 103561 w 110751"/>
                  <a:gd name="connsiteY2" fmla="*/ 104707 h 111940"/>
                  <a:gd name="connsiteX3" fmla="*/ 103561 w 110751"/>
                  <a:gd name="connsiteY3" fmla="*/ 104707 h 111940"/>
                  <a:gd name="connsiteX4" fmla="*/ 69790 w 110751"/>
                  <a:gd name="connsiteY4" fmla="*/ 105192 h 111940"/>
                  <a:gd name="connsiteX5" fmla="*/ 0 w 110751"/>
                  <a:gd name="connsiteY5" fmla="*/ 35402 h 111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0751" h="111940">
                    <a:moveTo>
                      <a:pt x="33506" y="0"/>
                    </a:moveTo>
                    <a:lnTo>
                      <a:pt x="104046" y="71024"/>
                    </a:lnTo>
                    <a:cubicBezTo>
                      <a:pt x="113172" y="80477"/>
                      <a:pt x="112956" y="95524"/>
                      <a:pt x="103561" y="104707"/>
                    </a:cubicBezTo>
                    <a:lnTo>
                      <a:pt x="103561" y="104707"/>
                    </a:lnTo>
                    <a:cubicBezTo>
                      <a:pt x="94364" y="114159"/>
                      <a:pt x="79251" y="114375"/>
                      <a:pt x="69790" y="105192"/>
                    </a:cubicBezTo>
                    <a:lnTo>
                      <a:pt x="0" y="35402"/>
                    </a:lnTo>
                  </a:path>
                </a:pathLst>
              </a:custGeom>
              <a:noFill/>
              <a:ln w="12700" cap="flat">
                <a:gradFill flip="none" rotWithShape="1">
                  <a:gsLst>
                    <a:gs pos="0">
                      <a:srgbClr val="CE2D61"/>
                    </a:gs>
                    <a:gs pos="50000">
                      <a:srgbClr val="AE367B"/>
                    </a:gs>
                    <a:gs pos="100000">
                      <a:srgbClr val="7F5CF2"/>
                    </a:gs>
                  </a:gsLst>
                  <a:lin ang="10800000" scaled="1"/>
                  <a:tileRect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D6A7A2BC-B16D-4B7A-83AB-EE68CDB59808}"/>
                  </a:ext>
                </a:extLst>
              </p:cNvPr>
              <p:cNvSpPr/>
              <p:nvPr/>
            </p:nvSpPr>
            <p:spPr>
              <a:xfrm>
                <a:off x="5253396" y="3798945"/>
                <a:ext cx="1321469" cy="93605"/>
              </a:xfrm>
              <a:custGeom>
                <a:avLst/>
                <a:gdLst>
                  <a:gd name="connsiteX0" fmla="*/ 0 w 626125"/>
                  <a:gd name="connsiteY0" fmla="*/ 0 h 44351"/>
                  <a:gd name="connsiteX1" fmla="*/ 0 w 626125"/>
                  <a:gd name="connsiteY1" fmla="*/ 30861 h 44351"/>
                  <a:gd name="connsiteX2" fmla="*/ 2160 w 626125"/>
                  <a:gd name="connsiteY2" fmla="*/ 32448 h 44351"/>
                  <a:gd name="connsiteX3" fmla="*/ 37077 w 626125"/>
                  <a:gd name="connsiteY3" fmla="*/ 44352 h 44351"/>
                  <a:gd name="connsiteX4" fmla="*/ 593193 w 626125"/>
                  <a:gd name="connsiteY4" fmla="*/ 44352 h 44351"/>
                  <a:gd name="connsiteX5" fmla="*/ 622114 w 626125"/>
                  <a:gd name="connsiteY5" fmla="*/ 34256 h 44351"/>
                  <a:gd name="connsiteX6" fmla="*/ 626126 w 626125"/>
                  <a:gd name="connsiteY6" fmla="*/ 31081 h 44351"/>
                  <a:gd name="connsiteX7" fmla="*/ 626126 w 626125"/>
                  <a:gd name="connsiteY7" fmla="*/ 220 h 4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125" h="44351">
                    <a:moveTo>
                      <a:pt x="0" y="0"/>
                    </a:moveTo>
                    <a:lnTo>
                      <a:pt x="0" y="30861"/>
                    </a:lnTo>
                    <a:lnTo>
                      <a:pt x="2160" y="32448"/>
                    </a:lnTo>
                    <a:cubicBezTo>
                      <a:pt x="12193" y="40110"/>
                      <a:pt x="24452" y="44290"/>
                      <a:pt x="37077" y="44352"/>
                    </a:cubicBezTo>
                    <a:lnTo>
                      <a:pt x="593193" y="44352"/>
                    </a:lnTo>
                    <a:cubicBezTo>
                      <a:pt x="603699" y="44360"/>
                      <a:pt x="613896" y="40803"/>
                      <a:pt x="622114" y="34256"/>
                    </a:cubicBezTo>
                    <a:lnTo>
                      <a:pt x="626126" y="31081"/>
                    </a:lnTo>
                    <a:lnTo>
                      <a:pt x="626126" y="22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506C0AB-2158-4BCC-A6A4-1FE14CEC2FD8}"/>
                  </a:ext>
                </a:extLst>
              </p:cNvPr>
              <p:cNvSpPr/>
              <p:nvPr/>
            </p:nvSpPr>
            <p:spPr>
              <a:xfrm>
                <a:off x="5437537" y="3057257"/>
                <a:ext cx="963235" cy="660922"/>
              </a:xfrm>
              <a:custGeom>
                <a:avLst/>
                <a:gdLst>
                  <a:gd name="connsiteX0" fmla="*/ 456390 w 456390"/>
                  <a:gd name="connsiteY0" fmla="*/ 261172 h 313151"/>
                  <a:gd name="connsiteX1" fmla="*/ 456390 w 456390"/>
                  <a:gd name="connsiteY1" fmla="*/ 300498 h 313151"/>
                  <a:gd name="connsiteX2" fmla="*/ 443737 w 456390"/>
                  <a:gd name="connsiteY2" fmla="*/ 313151 h 313151"/>
                  <a:gd name="connsiteX3" fmla="*/ 12653 w 456390"/>
                  <a:gd name="connsiteY3" fmla="*/ 313151 h 313151"/>
                  <a:gd name="connsiteX4" fmla="*/ 0 w 456390"/>
                  <a:gd name="connsiteY4" fmla="*/ 300498 h 313151"/>
                  <a:gd name="connsiteX5" fmla="*/ 0 w 456390"/>
                  <a:gd name="connsiteY5" fmla="*/ 12609 h 313151"/>
                  <a:gd name="connsiteX6" fmla="*/ 12609 w 456390"/>
                  <a:gd name="connsiteY6" fmla="*/ 0 h 313151"/>
                  <a:gd name="connsiteX7" fmla="*/ 12653 w 456390"/>
                  <a:gd name="connsiteY7" fmla="*/ 0 h 313151"/>
                  <a:gd name="connsiteX8" fmla="*/ 441268 w 456390"/>
                  <a:gd name="connsiteY8" fmla="*/ 0 h 313151"/>
                  <a:gd name="connsiteX9" fmla="*/ 453921 w 456390"/>
                  <a:gd name="connsiteY9" fmla="*/ 12565 h 313151"/>
                  <a:gd name="connsiteX10" fmla="*/ 453921 w 456390"/>
                  <a:gd name="connsiteY10" fmla="*/ 12609 h 313151"/>
                  <a:gd name="connsiteX11" fmla="*/ 453921 w 456390"/>
                  <a:gd name="connsiteY11" fmla="*/ 29847 h 31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6390" h="313151">
                    <a:moveTo>
                      <a:pt x="456390" y="261172"/>
                    </a:moveTo>
                    <a:lnTo>
                      <a:pt x="456390" y="300498"/>
                    </a:lnTo>
                    <a:cubicBezTo>
                      <a:pt x="456390" y="307486"/>
                      <a:pt x="450725" y="313151"/>
                      <a:pt x="443737" y="313151"/>
                    </a:cubicBezTo>
                    <a:lnTo>
                      <a:pt x="12653" y="313151"/>
                    </a:lnTo>
                    <a:cubicBezTo>
                      <a:pt x="5665" y="313151"/>
                      <a:pt x="0" y="307486"/>
                      <a:pt x="0" y="300498"/>
                    </a:cubicBezTo>
                    <a:lnTo>
                      <a:pt x="0" y="12609"/>
                    </a:lnTo>
                    <a:cubicBezTo>
                      <a:pt x="0" y="5645"/>
                      <a:pt x="5645" y="0"/>
                      <a:pt x="12609" y="0"/>
                    </a:cubicBezTo>
                    <a:cubicBezTo>
                      <a:pt x="12623" y="0"/>
                      <a:pt x="12638" y="0"/>
                      <a:pt x="12653" y="0"/>
                    </a:cubicBezTo>
                    <a:lnTo>
                      <a:pt x="441268" y="0"/>
                    </a:lnTo>
                    <a:cubicBezTo>
                      <a:pt x="448234" y="-24"/>
                      <a:pt x="453895" y="5601"/>
                      <a:pt x="453921" y="12565"/>
                    </a:cubicBezTo>
                    <a:cubicBezTo>
                      <a:pt x="453921" y="12579"/>
                      <a:pt x="453921" y="12594"/>
                      <a:pt x="453921" y="12609"/>
                    </a:cubicBezTo>
                    <a:lnTo>
                      <a:pt x="453921" y="29847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C90AC51-2636-4E05-9D2E-AE6967256722}"/>
                  </a:ext>
                </a:extLst>
              </p:cNvPr>
              <p:cNvSpPr/>
              <p:nvPr/>
            </p:nvSpPr>
            <p:spPr>
              <a:xfrm>
                <a:off x="5368497" y="2995008"/>
                <a:ext cx="1094152" cy="800678"/>
              </a:xfrm>
              <a:custGeom>
                <a:avLst/>
                <a:gdLst>
                  <a:gd name="connsiteX0" fmla="*/ 518421 w 518420"/>
                  <a:gd name="connsiteY0" fmla="*/ 56740 h 379369"/>
                  <a:gd name="connsiteX1" fmla="*/ 518421 w 518420"/>
                  <a:gd name="connsiteY1" fmla="*/ 12653 h 379369"/>
                  <a:gd name="connsiteX2" fmla="*/ 505768 w 518420"/>
                  <a:gd name="connsiteY2" fmla="*/ 0 h 379369"/>
                  <a:gd name="connsiteX3" fmla="*/ 12653 w 518420"/>
                  <a:gd name="connsiteY3" fmla="*/ 0 h 379369"/>
                  <a:gd name="connsiteX4" fmla="*/ 0 w 518420"/>
                  <a:gd name="connsiteY4" fmla="*/ 12653 h 379369"/>
                  <a:gd name="connsiteX5" fmla="*/ 0 w 518420"/>
                  <a:gd name="connsiteY5" fmla="*/ 366717 h 379369"/>
                  <a:gd name="connsiteX6" fmla="*/ 12653 w 518420"/>
                  <a:gd name="connsiteY6" fmla="*/ 379370 h 379369"/>
                  <a:gd name="connsiteX7" fmla="*/ 505768 w 518420"/>
                  <a:gd name="connsiteY7" fmla="*/ 379370 h 379369"/>
                  <a:gd name="connsiteX8" fmla="*/ 518421 w 518420"/>
                  <a:gd name="connsiteY8" fmla="*/ 366717 h 379369"/>
                  <a:gd name="connsiteX9" fmla="*/ 518421 w 518420"/>
                  <a:gd name="connsiteY9" fmla="*/ 284186 h 379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8420" h="379369">
                    <a:moveTo>
                      <a:pt x="518421" y="56740"/>
                    </a:moveTo>
                    <a:lnTo>
                      <a:pt x="518421" y="12653"/>
                    </a:lnTo>
                    <a:cubicBezTo>
                      <a:pt x="518421" y="5665"/>
                      <a:pt x="512756" y="0"/>
                      <a:pt x="505768" y="0"/>
                    </a:cubicBezTo>
                    <a:lnTo>
                      <a:pt x="12653" y="0"/>
                    </a:lnTo>
                    <a:cubicBezTo>
                      <a:pt x="5665" y="0"/>
                      <a:pt x="0" y="5665"/>
                      <a:pt x="0" y="12653"/>
                    </a:cubicBezTo>
                    <a:lnTo>
                      <a:pt x="0" y="366717"/>
                    </a:lnTo>
                    <a:cubicBezTo>
                      <a:pt x="0" y="373705"/>
                      <a:pt x="5665" y="379370"/>
                      <a:pt x="12653" y="379370"/>
                    </a:cubicBezTo>
                    <a:lnTo>
                      <a:pt x="505768" y="379370"/>
                    </a:lnTo>
                    <a:cubicBezTo>
                      <a:pt x="512756" y="379370"/>
                      <a:pt x="518421" y="373705"/>
                      <a:pt x="518421" y="366717"/>
                    </a:cubicBezTo>
                    <a:lnTo>
                      <a:pt x="518421" y="284186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E0404243-B593-4F57-B2F6-5EC1D1AF90B0}"/>
                  </a:ext>
                </a:extLst>
              </p:cNvPr>
              <p:cNvSpPr/>
              <p:nvPr/>
            </p:nvSpPr>
            <p:spPr>
              <a:xfrm>
                <a:off x="5707378" y="3061630"/>
                <a:ext cx="9303" cy="654966"/>
              </a:xfrm>
              <a:custGeom>
                <a:avLst/>
                <a:gdLst>
                  <a:gd name="connsiteX0" fmla="*/ 0 w 4408"/>
                  <a:gd name="connsiteY0" fmla="*/ 310329 h 310329"/>
                  <a:gd name="connsiteX1" fmla="*/ 0 w 4408"/>
                  <a:gd name="connsiteY1" fmla="*/ 0 h 31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08" h="310329">
                    <a:moveTo>
                      <a:pt x="0" y="310329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43D1DAF9-102D-485C-94B5-A199C29A1643}"/>
                  </a:ext>
                </a:extLst>
              </p:cNvPr>
              <p:cNvSpPr/>
              <p:nvPr/>
            </p:nvSpPr>
            <p:spPr>
              <a:xfrm>
                <a:off x="6413499" y="3219818"/>
                <a:ext cx="48982" cy="269572"/>
              </a:xfrm>
              <a:custGeom>
                <a:avLst/>
                <a:gdLst>
                  <a:gd name="connsiteX0" fmla="*/ 11605 w 23208"/>
                  <a:gd name="connsiteY0" fmla="*/ 127718 h 127726"/>
                  <a:gd name="connsiteX1" fmla="*/ 3185 w 23208"/>
                  <a:gd name="connsiteY1" fmla="*/ 124411 h 127726"/>
                  <a:gd name="connsiteX2" fmla="*/ 10 w 23208"/>
                  <a:gd name="connsiteY2" fmla="*/ 115947 h 127726"/>
                  <a:gd name="connsiteX3" fmla="*/ 3185 w 23208"/>
                  <a:gd name="connsiteY3" fmla="*/ 107482 h 127726"/>
                  <a:gd name="connsiteX4" fmla="*/ 19982 w 23208"/>
                  <a:gd name="connsiteY4" fmla="*/ 107482 h 127726"/>
                  <a:gd name="connsiteX5" fmla="*/ 23200 w 23208"/>
                  <a:gd name="connsiteY5" fmla="*/ 115947 h 127726"/>
                  <a:gd name="connsiteX6" fmla="*/ 19982 w 23208"/>
                  <a:gd name="connsiteY6" fmla="*/ 124411 h 127726"/>
                  <a:gd name="connsiteX7" fmla="*/ 11605 w 23208"/>
                  <a:gd name="connsiteY7" fmla="*/ 127718 h 127726"/>
                  <a:gd name="connsiteX8" fmla="*/ 4287 w 23208"/>
                  <a:gd name="connsiteY8" fmla="*/ 88480 h 127726"/>
                  <a:gd name="connsiteX9" fmla="*/ 1774 w 23208"/>
                  <a:gd name="connsiteY9" fmla="*/ 2334 h 127726"/>
                  <a:gd name="connsiteX10" fmla="*/ 21393 w 23208"/>
                  <a:gd name="connsiteY10" fmla="*/ 2334 h 127726"/>
                  <a:gd name="connsiteX11" fmla="*/ 18924 w 23208"/>
                  <a:gd name="connsiteY11" fmla="*/ 88480 h 127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208" h="127726">
                    <a:moveTo>
                      <a:pt x="11605" y="127718"/>
                    </a:moveTo>
                    <a:cubicBezTo>
                      <a:pt x="8457" y="127841"/>
                      <a:pt x="5407" y="126642"/>
                      <a:pt x="3185" y="124411"/>
                    </a:cubicBezTo>
                    <a:cubicBezTo>
                      <a:pt x="1038" y="122128"/>
                      <a:pt x="-104" y="119081"/>
                      <a:pt x="10" y="115947"/>
                    </a:cubicBezTo>
                    <a:cubicBezTo>
                      <a:pt x="-122" y="112812"/>
                      <a:pt x="1024" y="109757"/>
                      <a:pt x="3185" y="107482"/>
                    </a:cubicBezTo>
                    <a:cubicBezTo>
                      <a:pt x="7911" y="103064"/>
                      <a:pt x="15256" y="103064"/>
                      <a:pt x="19982" y="107482"/>
                    </a:cubicBezTo>
                    <a:cubicBezTo>
                      <a:pt x="22160" y="109752"/>
                      <a:pt x="23319" y="112808"/>
                      <a:pt x="23200" y="115947"/>
                    </a:cubicBezTo>
                    <a:cubicBezTo>
                      <a:pt x="23297" y="119086"/>
                      <a:pt x="22142" y="122132"/>
                      <a:pt x="19982" y="124411"/>
                    </a:cubicBezTo>
                    <a:cubicBezTo>
                      <a:pt x="17777" y="126638"/>
                      <a:pt x="14735" y="127837"/>
                      <a:pt x="11605" y="127718"/>
                    </a:cubicBezTo>
                    <a:close/>
                    <a:moveTo>
                      <a:pt x="4287" y="88480"/>
                    </a:moveTo>
                    <a:lnTo>
                      <a:pt x="1774" y="2334"/>
                    </a:lnTo>
                    <a:cubicBezTo>
                      <a:pt x="7942" y="-778"/>
                      <a:pt x="15225" y="-778"/>
                      <a:pt x="21393" y="2334"/>
                    </a:cubicBezTo>
                    <a:lnTo>
                      <a:pt x="18924" y="88480"/>
                    </a:lnTo>
                    <a:close/>
                  </a:path>
                </a:pathLst>
              </a:custGeom>
              <a:noFill/>
              <a:ln w="12700" cap="flat">
                <a:gradFill>
                  <a:gsLst>
                    <a:gs pos="0">
                      <a:srgbClr val="CE2D61"/>
                    </a:gs>
                    <a:gs pos="50000">
                      <a:srgbClr val="AE367B"/>
                    </a:gs>
                    <a:gs pos="100000">
                      <a:srgbClr val="7F5CF2"/>
                    </a:gs>
                  </a:gsLst>
                  <a:lin ang="5400000" scaled="1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29C6445A-EE9C-4DAC-9727-55ABE22D7381}"/>
                  </a:ext>
                </a:extLst>
              </p:cNvPr>
              <p:cNvSpPr/>
              <p:nvPr/>
            </p:nvSpPr>
            <p:spPr>
              <a:xfrm>
                <a:off x="6239800" y="3158306"/>
                <a:ext cx="394152" cy="394152"/>
              </a:xfrm>
              <a:custGeom>
                <a:avLst/>
                <a:gdLst>
                  <a:gd name="connsiteX0" fmla="*/ 186753 w 186753"/>
                  <a:gd name="connsiteY0" fmla="*/ 93377 h 186753"/>
                  <a:gd name="connsiteX1" fmla="*/ 93377 w 186753"/>
                  <a:gd name="connsiteY1" fmla="*/ 186753 h 186753"/>
                  <a:gd name="connsiteX2" fmla="*/ 0 w 186753"/>
                  <a:gd name="connsiteY2" fmla="*/ 93377 h 186753"/>
                  <a:gd name="connsiteX3" fmla="*/ 93377 w 186753"/>
                  <a:gd name="connsiteY3" fmla="*/ 0 h 186753"/>
                  <a:gd name="connsiteX4" fmla="*/ 186753 w 186753"/>
                  <a:gd name="connsiteY4" fmla="*/ 93377 h 186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753" h="186753">
                    <a:moveTo>
                      <a:pt x="186753" y="93377"/>
                    </a:moveTo>
                    <a:cubicBezTo>
                      <a:pt x="186753" y="144947"/>
                      <a:pt x="144947" y="186753"/>
                      <a:pt x="93377" y="186753"/>
                    </a:cubicBezTo>
                    <a:cubicBezTo>
                      <a:pt x="41806" y="186753"/>
                      <a:pt x="0" y="144947"/>
                      <a:pt x="0" y="93377"/>
                    </a:cubicBezTo>
                    <a:cubicBezTo>
                      <a:pt x="0" y="41806"/>
                      <a:pt x="41806" y="0"/>
                      <a:pt x="93377" y="0"/>
                    </a:cubicBezTo>
                    <a:cubicBezTo>
                      <a:pt x="144947" y="0"/>
                      <a:pt x="186753" y="41806"/>
                      <a:pt x="186753" y="93377"/>
                    </a:cubicBezTo>
                    <a:close/>
                  </a:path>
                </a:pathLst>
              </a:custGeom>
              <a:noFill/>
              <a:ln w="12700" cap="flat">
                <a:gradFill>
                  <a:gsLst>
                    <a:gs pos="0">
                      <a:srgbClr val="CE2D61"/>
                    </a:gs>
                    <a:gs pos="50000">
                      <a:srgbClr val="AE367B"/>
                    </a:gs>
                    <a:gs pos="100000">
                      <a:srgbClr val="7F5CF2"/>
                    </a:gs>
                  </a:gsLst>
                  <a:lin ang="5400000" scaled="1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80446E8-FE54-42A9-BF81-604EBA0B604A}"/>
                  </a:ext>
                </a:extLst>
              </p:cNvPr>
              <p:cNvSpPr/>
              <p:nvPr/>
            </p:nvSpPr>
            <p:spPr>
              <a:xfrm>
                <a:off x="5779025" y="3552367"/>
                <a:ext cx="495853" cy="9303"/>
              </a:xfrm>
              <a:custGeom>
                <a:avLst/>
                <a:gdLst>
                  <a:gd name="connsiteX0" fmla="*/ 0 w 234940"/>
                  <a:gd name="connsiteY0" fmla="*/ 0 h 4408"/>
                  <a:gd name="connsiteX1" fmla="*/ 234940 w 234940"/>
                  <a:gd name="connsiteY1" fmla="*/ 0 h 4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940" h="4408">
                    <a:moveTo>
                      <a:pt x="0" y="0"/>
                    </a:moveTo>
                    <a:lnTo>
                      <a:pt x="23494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670E23F-ECAD-4BC5-9763-A459ED4AE5E1}"/>
                  </a:ext>
                </a:extLst>
              </p:cNvPr>
              <p:cNvSpPr/>
              <p:nvPr/>
            </p:nvSpPr>
            <p:spPr>
              <a:xfrm>
                <a:off x="5858861" y="3233118"/>
                <a:ext cx="336181" cy="319249"/>
              </a:xfrm>
              <a:custGeom>
                <a:avLst/>
                <a:gdLst>
                  <a:gd name="connsiteX0" fmla="*/ 0 w 159286"/>
                  <a:gd name="connsiteY0" fmla="*/ 151263 h 151263"/>
                  <a:gd name="connsiteX1" fmla="*/ 36372 w 159286"/>
                  <a:gd name="connsiteY1" fmla="*/ 66616 h 151263"/>
                  <a:gd name="connsiteX2" fmla="*/ 67233 w 159286"/>
                  <a:gd name="connsiteY2" fmla="*/ 66616 h 151263"/>
                  <a:gd name="connsiteX3" fmla="*/ 90290 w 159286"/>
                  <a:gd name="connsiteY3" fmla="*/ 97785 h 151263"/>
                  <a:gd name="connsiteX4" fmla="*/ 117184 w 159286"/>
                  <a:gd name="connsiteY4" fmla="*/ 0 h 151263"/>
                  <a:gd name="connsiteX5" fmla="*/ 159287 w 159286"/>
                  <a:gd name="connsiteY5" fmla="*/ 151263 h 151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9286" h="151263">
                    <a:moveTo>
                      <a:pt x="0" y="151263"/>
                    </a:moveTo>
                    <a:lnTo>
                      <a:pt x="36372" y="66616"/>
                    </a:lnTo>
                    <a:lnTo>
                      <a:pt x="67233" y="66616"/>
                    </a:lnTo>
                    <a:lnTo>
                      <a:pt x="90290" y="97785"/>
                    </a:lnTo>
                    <a:lnTo>
                      <a:pt x="117184" y="0"/>
                    </a:lnTo>
                    <a:lnTo>
                      <a:pt x="159287" y="151263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7A2EE54-AB15-47B9-A80E-51A33C6860EA}"/>
                  </a:ext>
                </a:extLst>
              </p:cNvPr>
              <p:cNvSpPr/>
              <p:nvPr/>
            </p:nvSpPr>
            <p:spPr>
              <a:xfrm rot="21587400">
                <a:off x="5534851" y="3200276"/>
                <a:ext cx="72390" cy="72390"/>
              </a:xfrm>
              <a:custGeom>
                <a:avLst/>
                <a:gdLst>
                  <a:gd name="connsiteX0" fmla="*/ 0 w 34299"/>
                  <a:gd name="connsiteY0" fmla="*/ 0 h 34299"/>
                  <a:gd name="connsiteX1" fmla="*/ 34300 w 34299"/>
                  <a:gd name="connsiteY1" fmla="*/ 0 h 34299"/>
                  <a:gd name="connsiteX2" fmla="*/ 34300 w 34299"/>
                  <a:gd name="connsiteY2" fmla="*/ 34300 h 34299"/>
                  <a:gd name="connsiteX3" fmla="*/ 0 w 34299"/>
                  <a:gd name="connsiteY3" fmla="*/ 34300 h 3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9" h="34299">
                    <a:moveTo>
                      <a:pt x="0" y="0"/>
                    </a:moveTo>
                    <a:lnTo>
                      <a:pt x="34300" y="0"/>
                    </a:lnTo>
                    <a:lnTo>
                      <a:pt x="34300" y="34300"/>
                    </a:lnTo>
                    <a:lnTo>
                      <a:pt x="0" y="3430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7CDC312B-16F9-4D0E-8C89-26228C7AA248}"/>
                  </a:ext>
                </a:extLst>
              </p:cNvPr>
              <p:cNvSpPr/>
              <p:nvPr/>
            </p:nvSpPr>
            <p:spPr>
              <a:xfrm rot="21587400">
                <a:off x="5535376" y="3343661"/>
                <a:ext cx="72390" cy="72390"/>
              </a:xfrm>
              <a:custGeom>
                <a:avLst/>
                <a:gdLst>
                  <a:gd name="connsiteX0" fmla="*/ 0 w 34299"/>
                  <a:gd name="connsiteY0" fmla="*/ 0 h 34299"/>
                  <a:gd name="connsiteX1" fmla="*/ 34300 w 34299"/>
                  <a:gd name="connsiteY1" fmla="*/ 0 h 34299"/>
                  <a:gd name="connsiteX2" fmla="*/ 34300 w 34299"/>
                  <a:gd name="connsiteY2" fmla="*/ 34300 h 34299"/>
                  <a:gd name="connsiteX3" fmla="*/ 0 w 34299"/>
                  <a:gd name="connsiteY3" fmla="*/ 34300 h 3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9" h="34299">
                    <a:moveTo>
                      <a:pt x="0" y="0"/>
                    </a:moveTo>
                    <a:lnTo>
                      <a:pt x="34300" y="0"/>
                    </a:lnTo>
                    <a:lnTo>
                      <a:pt x="34300" y="34300"/>
                    </a:lnTo>
                    <a:lnTo>
                      <a:pt x="0" y="3430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67E293D9-1731-406D-A5D8-20DA525F0130}"/>
                  </a:ext>
                </a:extLst>
              </p:cNvPr>
              <p:cNvSpPr/>
              <p:nvPr/>
            </p:nvSpPr>
            <p:spPr>
              <a:xfrm rot="21587400">
                <a:off x="5535902" y="3486952"/>
                <a:ext cx="72390" cy="72390"/>
              </a:xfrm>
              <a:custGeom>
                <a:avLst/>
                <a:gdLst>
                  <a:gd name="connsiteX0" fmla="*/ 0 w 34299"/>
                  <a:gd name="connsiteY0" fmla="*/ 0 h 34299"/>
                  <a:gd name="connsiteX1" fmla="*/ 34300 w 34299"/>
                  <a:gd name="connsiteY1" fmla="*/ 0 h 34299"/>
                  <a:gd name="connsiteX2" fmla="*/ 34300 w 34299"/>
                  <a:gd name="connsiteY2" fmla="*/ 34300 h 34299"/>
                  <a:gd name="connsiteX3" fmla="*/ 0 w 34299"/>
                  <a:gd name="connsiteY3" fmla="*/ 34300 h 34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9" h="34299">
                    <a:moveTo>
                      <a:pt x="0" y="0"/>
                    </a:moveTo>
                    <a:lnTo>
                      <a:pt x="34300" y="0"/>
                    </a:lnTo>
                    <a:lnTo>
                      <a:pt x="34300" y="34300"/>
                    </a:lnTo>
                    <a:lnTo>
                      <a:pt x="0" y="3430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422DC82-C224-421F-A02A-0247C21899B6}"/>
                </a:ext>
              </a:extLst>
            </p:cNvPr>
            <p:cNvSpPr/>
            <p:nvPr/>
          </p:nvSpPr>
          <p:spPr>
            <a:xfrm>
              <a:off x="4560307" y="2797933"/>
              <a:ext cx="1117420" cy="79151"/>
            </a:xfrm>
            <a:custGeom>
              <a:avLst/>
              <a:gdLst>
                <a:gd name="connsiteX0" fmla="*/ 0 w 626125"/>
                <a:gd name="connsiteY0" fmla="*/ 0 h 44351"/>
                <a:gd name="connsiteX1" fmla="*/ 0 w 626125"/>
                <a:gd name="connsiteY1" fmla="*/ 30861 h 44351"/>
                <a:gd name="connsiteX2" fmla="*/ 2160 w 626125"/>
                <a:gd name="connsiteY2" fmla="*/ 32448 h 44351"/>
                <a:gd name="connsiteX3" fmla="*/ 37077 w 626125"/>
                <a:gd name="connsiteY3" fmla="*/ 44352 h 44351"/>
                <a:gd name="connsiteX4" fmla="*/ 593193 w 626125"/>
                <a:gd name="connsiteY4" fmla="*/ 44352 h 44351"/>
                <a:gd name="connsiteX5" fmla="*/ 622114 w 626125"/>
                <a:gd name="connsiteY5" fmla="*/ 34256 h 44351"/>
                <a:gd name="connsiteX6" fmla="*/ 626126 w 626125"/>
                <a:gd name="connsiteY6" fmla="*/ 31081 h 44351"/>
                <a:gd name="connsiteX7" fmla="*/ 626126 w 626125"/>
                <a:gd name="connsiteY7" fmla="*/ 220 h 4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6125" h="44351">
                  <a:moveTo>
                    <a:pt x="0" y="0"/>
                  </a:moveTo>
                  <a:lnTo>
                    <a:pt x="0" y="30861"/>
                  </a:lnTo>
                  <a:lnTo>
                    <a:pt x="2160" y="32448"/>
                  </a:lnTo>
                  <a:cubicBezTo>
                    <a:pt x="12193" y="40110"/>
                    <a:pt x="24452" y="44290"/>
                    <a:pt x="37077" y="44352"/>
                  </a:cubicBezTo>
                  <a:lnTo>
                    <a:pt x="593193" y="44352"/>
                  </a:lnTo>
                  <a:cubicBezTo>
                    <a:pt x="603699" y="44360"/>
                    <a:pt x="613896" y="40803"/>
                    <a:pt x="622114" y="34256"/>
                  </a:cubicBezTo>
                  <a:lnTo>
                    <a:pt x="626126" y="31081"/>
                  </a:lnTo>
                  <a:lnTo>
                    <a:pt x="626126" y="220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107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D9BB0-B833-BBCD-9A14-E6E828E8A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210EC-EA99-B7C1-80D0-9F9CDF21C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71870"/>
            <a:ext cx="7823200" cy="757130"/>
          </a:xfrm>
        </p:spPr>
        <p:txBody>
          <a:bodyPr/>
          <a:lstStyle/>
          <a:p>
            <a:r>
              <a:rPr lang="en-US" dirty="0"/>
              <a:t>Enabling Technolog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FA2FFA-3AB3-BA8C-9CD3-6FCB72328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9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c4jfmk3ubaiG3EklL6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WS Confidential Dark">
  <a:themeElements>
    <a:clrScheme name="One Brand 2022 Dark">
      <a:dk1>
        <a:srgbClr val="000000"/>
      </a:dk1>
      <a:lt1>
        <a:sysClr val="window" lastClr="FFFFFF"/>
      </a:lt1>
      <a:dk2>
        <a:srgbClr val="232F3E"/>
      </a:dk2>
      <a:lt2>
        <a:srgbClr val="F1F3F3"/>
      </a:lt2>
      <a:accent1>
        <a:srgbClr val="FF8500"/>
      </a:accent1>
      <a:accent2>
        <a:srgbClr val="7C59ED"/>
      </a:accent2>
      <a:accent3>
        <a:srgbClr val="38EF7D"/>
      </a:accent3>
      <a:accent4>
        <a:srgbClr val="F46DBA"/>
      </a:accent4>
      <a:accent5>
        <a:srgbClr val="9FFCEA"/>
      </a:accent5>
      <a:accent6>
        <a:srgbClr val="FBD8BF"/>
      </a:accent6>
      <a:hlink>
        <a:srgbClr val="41B1E8"/>
      </a:hlink>
      <a:folHlink>
        <a:srgbClr val="41B1E8"/>
      </a:folHlink>
    </a:clrScheme>
    <a:fontScheme name="Ember Heavy and Ember">
      <a:majorFont>
        <a:latin typeface="Amazon Ember Heavy"/>
        <a:ea typeface=""/>
        <a:cs typeface=""/>
      </a:majorFont>
      <a:minorFont>
        <a:latin typeface="Amazon Emb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45720" tIns="45720" rIns="4572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22EC4E5-5086-421D-A379-B3F195B9C2D2}" vid="{CE237227-403A-497D-ACDE-07EAB93F011A}"/>
    </a:ext>
  </a:extLst>
</a:theme>
</file>

<file path=ppt/theme/theme2.xml><?xml version="1.0" encoding="utf-8"?>
<a:theme xmlns:a="http://schemas.openxmlformats.org/drawingml/2006/main" name="AWS reInvent 2025">
  <a:themeElements>
    <a:clrScheme name="AWS reInvent Recap">
      <a:dk1>
        <a:srgbClr val="000000"/>
      </a:dk1>
      <a:lt1>
        <a:srgbClr val="FFFFFF"/>
      </a:lt1>
      <a:dk2>
        <a:srgbClr val="09051B"/>
      </a:dk2>
      <a:lt2>
        <a:srgbClr val="F2F4F4"/>
      </a:lt2>
      <a:accent1>
        <a:srgbClr val="5600C2"/>
      </a:accent1>
      <a:accent2>
        <a:srgbClr val="F66C02"/>
      </a:accent2>
      <a:accent3>
        <a:srgbClr val="5600C1"/>
      </a:accent3>
      <a:accent4>
        <a:srgbClr val="FF28EF"/>
      </a:accent4>
      <a:accent5>
        <a:srgbClr val="F66C02"/>
      </a:accent5>
      <a:accent6>
        <a:srgbClr val="5600C2"/>
      </a:accent6>
      <a:hlink>
        <a:srgbClr val="FF28EF"/>
      </a:hlink>
      <a:folHlink>
        <a:srgbClr val="5600C1"/>
      </a:folHlink>
    </a:clrScheme>
    <a:fontScheme name="Ember Display all the way">
      <a:majorFont>
        <a:latin typeface="Amazon Ember Display"/>
        <a:ea typeface=""/>
        <a:cs typeface=""/>
      </a:majorFont>
      <a:minorFont>
        <a:latin typeface="Amazon Ember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ctr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IV_SpeakerTemplate_V6_20230919.potx" id="{D2300FA7-B1CD-4CEB-BF05-8DB05866050F}" vid="{8EFA14E7-05CD-434F-A2CF-24BA2AE30BE0}"/>
    </a:ext>
  </a:extLst>
</a:theme>
</file>

<file path=ppt/theme/theme3.xml><?xml version="1.0" encoding="utf-8"?>
<a:theme xmlns:a="http://schemas.openxmlformats.org/drawingml/2006/main" name="1_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Font">
      <a:majorFont>
        <a:latin typeface="Henderson BCG Sans"/>
        <a:ea typeface=""/>
        <a:cs typeface=""/>
      </a:majorFont>
      <a:minorFont>
        <a:latin typeface="Henderson BCG Sans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CA5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CG_Grid_16x9.pptx" id="{8830F7DA-A78E-4B82-9935-5CC7FF5B9633}" vid="{52C2632B-9813-48FC-8882-620C42A0A230}"/>
    </a:ext>
  </a:extLst>
</a:theme>
</file>

<file path=ppt/theme/theme4.xml><?xml version="1.0" encoding="utf-8"?>
<a:theme xmlns:a="http://schemas.openxmlformats.org/drawingml/2006/main" name="AWS re:Invent">
  <a:themeElements>
    <a:clrScheme name="Custom 29">
      <a:dk1>
        <a:srgbClr val="000000"/>
      </a:dk1>
      <a:lt1>
        <a:srgbClr val="FFFFFF"/>
      </a:lt1>
      <a:dk2>
        <a:srgbClr val="09051B"/>
      </a:dk2>
      <a:lt2>
        <a:srgbClr val="F2F4F4"/>
      </a:lt2>
      <a:accent1>
        <a:srgbClr val="0EEDAF"/>
      </a:accent1>
      <a:accent2>
        <a:srgbClr val="F2FF85"/>
      </a:accent2>
      <a:accent3>
        <a:srgbClr val="FF706E"/>
      </a:accent3>
      <a:accent4>
        <a:srgbClr val="FF00F7"/>
      </a:accent4>
      <a:accent5>
        <a:srgbClr val="BC007A"/>
      </a:accent5>
      <a:accent6>
        <a:srgbClr val="2C0152"/>
      </a:accent6>
      <a:hlink>
        <a:srgbClr val="2E77FA"/>
      </a:hlink>
      <a:folHlink>
        <a:srgbClr val="2E77FA"/>
      </a:folHlink>
    </a:clrScheme>
    <a:fontScheme name="Ember Display all the way">
      <a:majorFont>
        <a:latin typeface="Amazon Ember Display"/>
        <a:ea typeface=""/>
        <a:cs typeface=""/>
      </a:majorFont>
      <a:minorFont>
        <a:latin typeface="Amazon Ember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ctr">
          <a:defRPr dirty="0" err="1" smtClean="0"/>
        </a:defPPr>
      </a:lstStyle>
    </a:txDef>
  </a:objectDefaults>
  <a:extraClrSchemeLst/>
  <a:custClrLst>
    <a:custClr name="Yellow-Orange">
      <a:srgbClr val="FF901E"/>
    </a:custClr>
    <a:custClr name="Bright Red">
      <a:srgbClr val="FF316E"/>
    </a:custClr>
    <a:custClr name="Plum">
      <a:srgbClr val="480046"/>
    </a:custClr>
    <a:custClr name="Blue">
      <a:srgbClr val="0019C8"/>
    </a:custClr>
    <a:custClr name="Sky Blue (hyperlink)">
      <a:srgbClr val="0061FF"/>
    </a:custClr>
  </a:custClrLst>
  <a:extLst>
    <a:ext uri="{05A4C25C-085E-4340-85A3-A5531E510DB2}">
      <thm15:themeFamily xmlns:thm15="http://schemas.microsoft.com/office/thememl/2012/main" name="Presentation8" id="{C1C046C8-FEEB-F544-8F0D-279D91C77DC6}" vid="{7507A532-FAD7-8D4B-8C53-D4B285E4155D}"/>
    </a:ext>
  </a:extLst>
</a:theme>
</file>

<file path=ppt/theme/theme5.xml><?xml version="1.0" encoding="utf-8"?>
<a:theme xmlns:a="http://schemas.openxmlformats.org/drawingml/2006/main" name="1_AWS for HCLS">
  <a:themeElements>
    <a:clrScheme name="AWS_2022_Light">
      <a:dk1>
        <a:srgbClr val="000000"/>
      </a:dk1>
      <a:lt1>
        <a:srgbClr val="FFFFFF"/>
      </a:lt1>
      <a:dk2>
        <a:srgbClr val="232F3E"/>
      </a:dk2>
      <a:lt2>
        <a:srgbClr val="F1F3F3"/>
      </a:lt2>
      <a:accent1>
        <a:srgbClr val="2074D5"/>
      </a:accent1>
      <a:accent2>
        <a:srgbClr val="7C59ED"/>
      </a:accent2>
      <a:accent3>
        <a:srgbClr val="38EF7D"/>
      </a:accent3>
      <a:accent4>
        <a:srgbClr val="F46DBA"/>
      </a:accent4>
      <a:accent5>
        <a:srgbClr val="9FFCEA"/>
      </a:accent5>
      <a:accent6>
        <a:srgbClr val="FBD8BF"/>
      </a:accent6>
      <a:hlink>
        <a:srgbClr val="41B1E8"/>
      </a:hlink>
      <a:folHlink>
        <a:srgbClr val="41B1E8"/>
      </a:folHlink>
    </a:clrScheme>
    <a:fontScheme name="Ember Display all the way">
      <a:majorFont>
        <a:latin typeface="Amazon Ember Display"/>
        <a:ea typeface=""/>
        <a:cs typeface=""/>
      </a:majorFont>
      <a:minorFont>
        <a:latin typeface="Amazon Ember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45720" tIns="45720" rIns="4572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WS_Healthcare_PPTTemplate_Confidential_Dark_2023.potx" id="{3B478DC4-69A7-43D0-B472-B979CCF7CA3C}" vid="{40C1D1BF-8321-4253-A471-BEAB573EAE3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WS Confidential Template_Dark_2023</Template>
  <TotalTime>45562</TotalTime>
  <Words>1398</Words>
  <Application>Microsoft Macintosh PowerPoint</Application>
  <PresentationFormat>Widescreen</PresentationFormat>
  <Paragraphs>291</Paragraphs>
  <Slides>1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43" baseType="lpstr">
      <vt:lpstr>Amazon Ember</vt:lpstr>
      <vt:lpstr>Amazon Ember Display</vt:lpstr>
      <vt:lpstr>Amazon Ember Display Heavy</vt:lpstr>
      <vt:lpstr>Amazon Ember Heavy</vt:lpstr>
      <vt:lpstr>Amazon Ember Light</vt:lpstr>
      <vt:lpstr>Amazon Ember Mono</vt:lpstr>
      <vt:lpstr>Amazon Ember Regular</vt:lpstr>
      <vt:lpstr>Amazon Ember Thin</vt:lpstr>
      <vt:lpstr>Archivo</vt:lpstr>
      <vt:lpstr>Arial</vt:lpstr>
      <vt:lpstr>Arial Nova</vt:lpstr>
      <vt:lpstr>Calibri</vt:lpstr>
      <vt:lpstr>Graphik</vt:lpstr>
      <vt:lpstr>Helvetica Neue</vt:lpstr>
      <vt:lpstr>Henderson BCG Sans Light</vt:lpstr>
      <vt:lpstr>Lucida Console</vt:lpstr>
      <vt:lpstr>Mulish</vt:lpstr>
      <vt:lpstr>Mulish SemiBold</vt:lpstr>
      <vt:lpstr>Roboto Mono Medium</vt:lpstr>
      <vt:lpstr>Trebuchet MS</vt:lpstr>
      <vt:lpstr>Wingdings</vt:lpstr>
      <vt:lpstr>AWS Confidential Dark</vt:lpstr>
      <vt:lpstr>AWS reInvent 2025</vt:lpstr>
      <vt:lpstr>1_BCG Grid 16:9</vt:lpstr>
      <vt:lpstr>AWS re:Invent</vt:lpstr>
      <vt:lpstr>1_AWS for HCLS</vt:lpstr>
      <vt:lpstr>think-cell Slide</vt:lpstr>
      <vt:lpstr>Cloud: Enabling Science</vt:lpstr>
      <vt:lpstr>PowerPoint Presentation</vt:lpstr>
      <vt:lpstr>Drug Discovery | Use Cases, Workloads, Outcomes</vt:lpstr>
      <vt:lpstr>GPUs + SageMaker HyperPod</vt:lpstr>
      <vt:lpstr>Cluster size growth leads to higher failure</vt:lpstr>
      <vt:lpstr>Optimize for price-performance ‘Sweet Spot’</vt:lpstr>
      <vt:lpstr>PowerPoint Presentation</vt:lpstr>
      <vt:lpstr>SageMaker HyperPod provides a resilient cluster for model development and deployment</vt:lpstr>
      <vt:lpstr>Enabling Technologies</vt:lpstr>
      <vt:lpstr>Enabling Technologies: SBCloud</vt:lpstr>
      <vt:lpstr>Enabling Technologies: Plex Research</vt:lpstr>
      <vt:lpstr>Amazon Services to Build AI (or GenAI)</vt:lpstr>
      <vt:lpstr>PowerPoint Presentation</vt:lpstr>
      <vt:lpstr>Backup</vt:lpstr>
      <vt:lpstr>GenAI Innovation &amp; Operational Excellence across the value chai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azon Bedrock Update</dc:title>
  <dc:creator>Cody DeHaas</dc:creator>
  <cp:lastModifiedBy>Tarselli, Mike</cp:lastModifiedBy>
  <cp:revision>337</cp:revision>
  <cp:lastPrinted>2025-04-11T13:07:47Z</cp:lastPrinted>
  <dcterms:created xsi:type="dcterms:W3CDTF">2024-01-26T23:34:03Z</dcterms:created>
  <dcterms:modified xsi:type="dcterms:W3CDTF">2025-04-11T14:27:39Z</dcterms:modified>
</cp:coreProperties>
</file>